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5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4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Layouts/slideLayout27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6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slideLayouts/slideLayout3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8.xml" ContentType="application/vnd.openxmlformats-officedocument.presentationml.slideLayout+xml"/>
  <Override PartName="/ppt/diagrams/drawing2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drawing1.xml" ContentType="application/vnd.ms-office.drawingml.diagramDrawing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notesMasters/notesMaster1.xml" ContentType="application/vnd.openxmlformats-officedocument.presentationml.notesMaster+xml"/>
  <Override PartName="/ppt/diagrams/colors2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2.xml" ContentType="application/vnd.openxmlformats-officedocument.presentationml.tag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30.xml" ContentType="application/vnd.openxmlformats-officedocument.presentationml.tags+xml"/>
  <Override PartName="/ppt/tags/tag8.xml" ContentType="application/vnd.openxmlformats-officedocument.presentationml.tags+xml"/>
  <Override PartName="/ppt/tags/tag40.xml" ContentType="application/vnd.openxmlformats-officedocument.presentationml.tags+xml"/>
  <Override PartName="/ppt/tags/tag23.xml" ContentType="application/vnd.openxmlformats-officedocument.presentationml.tags+xml"/>
  <Override PartName="/ppt/tags/tag29.xml" ContentType="application/vnd.openxmlformats-officedocument.presentationml.tags+xml"/>
  <Override PartName="/ppt/tags/tag2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.xml" ContentType="application/vnd.openxmlformats-officedocument.presentationml.tags+xml"/>
  <Override PartName="/ppt/tags/tag24.xml" ContentType="application/vnd.openxmlformats-officedocument.presentationml.tags+xml"/>
  <Override PartName="/ppt/tags/tag28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41.xml" ContentType="application/vnd.openxmlformats-officedocument.presentationml.tags+xml"/>
  <Override PartName="/ppt/tags/tag39.xml" ContentType="application/vnd.openxmlformats-officedocument.presentationml.tags+xml"/>
  <Override PartName="/ppt/tags/tag18.xml" ContentType="application/vnd.openxmlformats-officedocument.presentationml.tags+xml"/>
  <Override PartName="/ppt/tags/tag42.xml" ContentType="application/vnd.openxmlformats-officedocument.presentationml.tags+xml"/>
  <Override PartName="/ppt/tags/tag21.xml" ContentType="application/vnd.openxmlformats-officedocument.presentationml.tags+xml"/>
  <Override PartName="/ppt/tags/tag33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ppt/tags/tag15.xml" ContentType="application/vnd.openxmlformats-officedocument.presentationml.tags+xml"/>
  <Override PartName="/docProps/app.xml" ContentType="application/vnd.openxmlformats-officedocument.extended-properti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36.xml" ContentType="application/vnd.openxmlformats-officedocument.presentationml.tags+xml"/>
  <Override PartName="/ppt/tags/tag31.xml" ContentType="application/vnd.openxmlformats-officedocument.presentationml.tags+xml"/>
  <Override PartName="/ppt/tags/tag9.xml" ContentType="application/vnd.openxmlformats-officedocument.presentationml.tags+xml"/>
  <Override PartName="/ppt/tags/tag38.xml" ContentType="application/vnd.openxmlformats-officedocument.presentationml.tags+xml"/>
  <Override PartName="/ppt/tags/tag10.xml" ContentType="application/vnd.openxmlformats-officedocument.presentationml.tags+xml"/>
  <Override PartName="/ppt/tags/tag12.xml" ContentType="application/vnd.openxmlformats-officedocument.presentationml.tags+xml"/>
  <Override PartName="/ppt/tags/tag37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32.xml" ContentType="application/vnd.openxmlformats-officedocument.presentationml.tags+xml"/>
  <Override PartName="/ppt/tags/tag11.xml" ContentType="application/vnd.openxmlformats-officedocument.presentationml.tags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4" r:id="rId2"/>
    <p:sldMasterId id="2147483717" r:id="rId3"/>
  </p:sldMasterIdLst>
  <p:notesMasterIdLst>
    <p:notesMasterId r:id="rId26"/>
  </p:notesMasterIdLst>
  <p:handoutMasterIdLst>
    <p:handoutMasterId r:id="rId27"/>
  </p:handoutMasterIdLst>
  <p:sldIdLst>
    <p:sldId id="452" r:id="rId4"/>
    <p:sldId id="2147472764" r:id="rId5"/>
    <p:sldId id="2147472667" r:id="rId6"/>
    <p:sldId id="2147472602" r:id="rId7"/>
    <p:sldId id="2147472762" r:id="rId8"/>
    <p:sldId id="2147472670" r:id="rId9"/>
    <p:sldId id="2147472674" r:id="rId10"/>
    <p:sldId id="2147472675" r:id="rId11"/>
    <p:sldId id="2147472751" r:id="rId12"/>
    <p:sldId id="2147472752" r:id="rId13"/>
    <p:sldId id="2147472754" r:id="rId14"/>
    <p:sldId id="2147472753" r:id="rId15"/>
    <p:sldId id="2147472755" r:id="rId16"/>
    <p:sldId id="2147472756" r:id="rId17"/>
    <p:sldId id="2147472757" r:id="rId18"/>
    <p:sldId id="2147472758" r:id="rId19"/>
    <p:sldId id="2147472759" r:id="rId20"/>
    <p:sldId id="2147472760" r:id="rId21"/>
    <p:sldId id="2147472689" r:id="rId22"/>
    <p:sldId id="2147472750" r:id="rId23"/>
    <p:sldId id="2147472659" r:id="rId24"/>
    <p:sldId id="2147472763" r:id="rId25"/>
  </p:sldIdLst>
  <p:sldSz cx="12192000" cy="6858000"/>
  <p:notesSz cx="6858000" cy="9144000"/>
  <p:custDataLst>
    <p:tags r:id="rId28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orient="horz" pos="1162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31E"/>
    <a:srgbClr val="01AFE9"/>
    <a:srgbClr val="E9EADD"/>
    <a:srgbClr val="EFEFEF"/>
    <a:srgbClr val="33CC33"/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25" autoAdjust="0"/>
    <p:restoredTop sz="77394" autoAdjust="0"/>
  </p:normalViewPr>
  <p:slideViewPr>
    <p:cSldViewPr snapToGrid="0">
      <p:cViewPr varScale="1">
        <p:scale>
          <a:sx n="85" d="100"/>
          <a:sy n="85" d="100"/>
        </p:scale>
        <p:origin x="848" y="48"/>
      </p:cViewPr>
      <p:guideLst>
        <p:guide orient="horz" pos="981"/>
        <p:guide orient="horz" pos="1162"/>
        <p:guide pos="3840"/>
      </p:guideLst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customXml" Target="../customXml/item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gs" Target="tags/tag1.xml"/><Relationship Id="rId36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openxmlformats.org/officeDocument/2006/relationships/customXml" Target="../customXml/item2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9615AB-B87F-4BBB-8A12-8CE1441BEB9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3101244-990E-4F30-BC55-70D5BF2C650B}">
      <dgm:prSet phldrT="[Texto]" custT="1"/>
      <dgm:spPr>
        <a:xfrm>
          <a:off x="1785" y="144258"/>
          <a:ext cx="2175867" cy="870346"/>
        </a:xfrm>
        <a:solidFill>
          <a:srgbClr val="FFFF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Text" lastClr="000000">
                  <a:lumMod val="95000"/>
                  <a:lumOff val="5000"/>
                </a:sysClr>
              </a:solidFill>
              <a:latin typeface="ACHS Nueva Sans" pitchFamily="2" charset="0"/>
              <a:ea typeface="+mn-ea"/>
              <a:cs typeface="+mn-cs"/>
            </a:rPr>
            <a:t>¿Qué me puede hacer daño?</a:t>
          </a:r>
          <a:endParaRPr lang="es-CL" sz="1800" dirty="0">
            <a:solidFill>
              <a:sysClr val="windowText" lastClr="000000">
                <a:lumMod val="95000"/>
                <a:lumOff val="5000"/>
              </a:sysClr>
            </a:solidFill>
            <a:latin typeface="ACHS Nueva Sans" pitchFamily="2" charset="0"/>
            <a:ea typeface="+mn-ea"/>
            <a:cs typeface="+mn-cs"/>
          </a:endParaRPr>
        </a:p>
      </dgm:t>
    </dgm:pt>
    <dgm:pt modelId="{81B8A9BE-4146-45CF-A88D-F6DBC747D49E}" type="parTrans" cxnId="{E80CAA44-C526-4B82-823D-A1B3AE91E0F5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FEC7B262-ADB0-4DB5-8034-01CCBB56AD3D}" type="sibTrans" cxnId="{E80CAA44-C526-4B82-823D-A1B3AE91E0F5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DA7FE5DD-704D-43A0-934E-2D672942FAAD}">
      <dgm:prSet phldrT="[Texto]" custT="1"/>
      <dgm:spPr>
        <a:xfrm>
          <a:off x="1960066" y="144258"/>
          <a:ext cx="2175867" cy="870346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Qué me puede pasar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1FBD2E85-F8C8-4977-8778-A078EEA7213B}" type="parTrans" cxnId="{3F28BB4A-B5D5-4B05-9FED-4293FBC5BE77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4CD12108-E639-415C-B450-B01D4A45A1BE}" type="sibTrans" cxnId="{3F28BB4A-B5D5-4B05-9FED-4293FBC5BE77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376B677E-317B-48B0-AD56-F32DF8B3D960}">
      <dgm:prSet phldrT="[Texto]" custT="1"/>
      <dgm:spPr>
        <a:xfrm>
          <a:off x="3918346" y="144258"/>
          <a:ext cx="2175867" cy="870346"/>
        </a:xfrm>
        <a:solidFill>
          <a:srgbClr val="00B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Cómo evito el accidente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DDA023AF-5EA8-4894-848C-EB3CE07A2F61}" type="parTrans" cxnId="{D4BDF350-A929-46E4-96C0-1D065DCC6EFA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25AE91C6-3915-462F-B4BF-ED1D03349B2E}" type="sibTrans" cxnId="{D4BDF350-A929-46E4-96C0-1D065DCC6EFA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6A63213C-EEDC-4837-B4D4-B8A4273CE85F}" type="pres">
      <dgm:prSet presAssocID="{D79615AB-B87F-4BBB-8A12-8CE1441BEB97}" presName="Name0" presStyleCnt="0">
        <dgm:presLayoutVars>
          <dgm:dir/>
          <dgm:animLvl val="lvl"/>
          <dgm:resizeHandles val="exact"/>
        </dgm:presLayoutVars>
      </dgm:prSet>
      <dgm:spPr/>
    </dgm:pt>
    <dgm:pt modelId="{E65543F6-4605-41C8-BCB8-88777779D1DC}" type="pres">
      <dgm:prSet presAssocID="{23101244-990E-4F30-BC55-70D5BF2C650B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A88478C1-73AD-4912-8E4B-9880AD1733C0}" type="pres">
      <dgm:prSet presAssocID="{FEC7B262-ADB0-4DB5-8034-01CCBB56AD3D}" presName="parTxOnlySpace" presStyleCnt="0"/>
      <dgm:spPr/>
    </dgm:pt>
    <dgm:pt modelId="{09844E63-A912-442D-88DF-E002A3D3C88D}" type="pres">
      <dgm:prSet presAssocID="{DA7FE5DD-704D-43A0-934E-2D672942FAAD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23B525BF-A55A-4ED4-82E9-B1939A657E5C}" type="pres">
      <dgm:prSet presAssocID="{4CD12108-E639-415C-B450-B01D4A45A1BE}" presName="parTxOnlySpace" presStyleCnt="0"/>
      <dgm:spPr/>
    </dgm:pt>
    <dgm:pt modelId="{89AE2FB3-7782-49F2-A44F-363B53CFC887}" type="pres">
      <dgm:prSet presAssocID="{376B677E-317B-48B0-AD56-F32DF8B3D960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</dgm:ptLst>
  <dgm:cxnLst>
    <dgm:cxn modelId="{7077CFC3-5FA1-4261-94EB-2A073AB586D7}" type="presOf" srcId="{DA7FE5DD-704D-43A0-934E-2D672942FAAD}" destId="{09844E63-A912-442D-88DF-E002A3D3C88D}" srcOrd="0" destOrd="0" presId="urn:microsoft.com/office/officeart/2005/8/layout/chevron1"/>
    <dgm:cxn modelId="{5B2BCACE-EB4F-44A6-9437-CB2E0A6AD4C8}" type="presOf" srcId="{D79615AB-B87F-4BBB-8A12-8CE1441BEB97}" destId="{6A63213C-EEDC-4837-B4D4-B8A4273CE85F}" srcOrd="0" destOrd="0" presId="urn:microsoft.com/office/officeart/2005/8/layout/chevron1"/>
    <dgm:cxn modelId="{E80CAA44-C526-4B82-823D-A1B3AE91E0F5}" srcId="{D79615AB-B87F-4BBB-8A12-8CE1441BEB97}" destId="{23101244-990E-4F30-BC55-70D5BF2C650B}" srcOrd="0" destOrd="0" parTransId="{81B8A9BE-4146-45CF-A88D-F6DBC747D49E}" sibTransId="{FEC7B262-ADB0-4DB5-8034-01CCBB56AD3D}"/>
    <dgm:cxn modelId="{A6F19790-7077-45BF-A72A-57CBDFF4D989}" type="presOf" srcId="{376B677E-317B-48B0-AD56-F32DF8B3D960}" destId="{89AE2FB3-7782-49F2-A44F-363B53CFC887}" srcOrd="0" destOrd="0" presId="urn:microsoft.com/office/officeart/2005/8/layout/chevron1"/>
    <dgm:cxn modelId="{D4BDF350-A929-46E4-96C0-1D065DCC6EFA}" srcId="{D79615AB-B87F-4BBB-8A12-8CE1441BEB97}" destId="{376B677E-317B-48B0-AD56-F32DF8B3D960}" srcOrd="2" destOrd="0" parTransId="{DDA023AF-5EA8-4894-848C-EB3CE07A2F61}" sibTransId="{25AE91C6-3915-462F-B4BF-ED1D03349B2E}"/>
    <dgm:cxn modelId="{3F28BB4A-B5D5-4B05-9FED-4293FBC5BE77}" srcId="{D79615AB-B87F-4BBB-8A12-8CE1441BEB97}" destId="{DA7FE5DD-704D-43A0-934E-2D672942FAAD}" srcOrd="1" destOrd="0" parTransId="{1FBD2E85-F8C8-4977-8778-A078EEA7213B}" sibTransId="{4CD12108-E639-415C-B450-B01D4A45A1BE}"/>
    <dgm:cxn modelId="{AA6D71D1-594C-4FF5-AA39-E592E2E0F5EA}" type="presOf" srcId="{23101244-990E-4F30-BC55-70D5BF2C650B}" destId="{E65543F6-4605-41C8-BCB8-88777779D1DC}" srcOrd="0" destOrd="0" presId="urn:microsoft.com/office/officeart/2005/8/layout/chevron1"/>
    <dgm:cxn modelId="{AAFF54FD-EE4B-4D35-926A-96C1086DB393}" type="presParOf" srcId="{6A63213C-EEDC-4837-B4D4-B8A4273CE85F}" destId="{E65543F6-4605-41C8-BCB8-88777779D1DC}" srcOrd="0" destOrd="0" presId="urn:microsoft.com/office/officeart/2005/8/layout/chevron1"/>
    <dgm:cxn modelId="{80CD7D73-BABF-4768-B278-58E07393D76B}" type="presParOf" srcId="{6A63213C-EEDC-4837-B4D4-B8A4273CE85F}" destId="{A88478C1-73AD-4912-8E4B-9880AD1733C0}" srcOrd="1" destOrd="0" presId="urn:microsoft.com/office/officeart/2005/8/layout/chevron1"/>
    <dgm:cxn modelId="{5823E1B6-F658-4C21-AF45-D106505D7EFA}" type="presParOf" srcId="{6A63213C-EEDC-4837-B4D4-B8A4273CE85F}" destId="{09844E63-A912-442D-88DF-E002A3D3C88D}" srcOrd="2" destOrd="0" presId="urn:microsoft.com/office/officeart/2005/8/layout/chevron1"/>
    <dgm:cxn modelId="{3F7E24ED-5B5A-4421-A6B9-EAD067CE2DF8}" type="presParOf" srcId="{6A63213C-EEDC-4837-B4D4-B8A4273CE85F}" destId="{23B525BF-A55A-4ED4-82E9-B1939A657E5C}" srcOrd="3" destOrd="0" presId="urn:microsoft.com/office/officeart/2005/8/layout/chevron1"/>
    <dgm:cxn modelId="{9A5452FD-04BA-46D0-8E55-B433BB7D4D0E}" type="presParOf" srcId="{6A63213C-EEDC-4837-B4D4-B8A4273CE85F}" destId="{89AE2FB3-7782-49F2-A44F-363B53CFC88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79615AB-B87F-4BBB-8A12-8CE1441BEB9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3101244-990E-4F30-BC55-70D5BF2C650B}">
      <dgm:prSet phldrT="[Texto]" custT="1"/>
      <dgm:spPr>
        <a:xfrm>
          <a:off x="1785" y="144258"/>
          <a:ext cx="2175867" cy="870346"/>
        </a:xfrm>
        <a:solidFill>
          <a:srgbClr val="FFFF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Text" lastClr="000000">
                  <a:lumMod val="95000"/>
                  <a:lumOff val="5000"/>
                </a:sysClr>
              </a:solidFill>
              <a:latin typeface="ACHS Nueva Sans" pitchFamily="2" charset="0"/>
              <a:ea typeface="+mn-ea"/>
              <a:cs typeface="+mn-cs"/>
            </a:rPr>
            <a:t>¿Qué me puede hacer daño?</a:t>
          </a:r>
          <a:endParaRPr lang="es-CL" sz="1800" dirty="0">
            <a:solidFill>
              <a:sysClr val="windowText" lastClr="000000">
                <a:lumMod val="95000"/>
                <a:lumOff val="5000"/>
              </a:sysClr>
            </a:solidFill>
            <a:latin typeface="ACHS Nueva Sans" pitchFamily="2" charset="0"/>
            <a:ea typeface="+mn-ea"/>
            <a:cs typeface="+mn-cs"/>
          </a:endParaRPr>
        </a:p>
      </dgm:t>
    </dgm:pt>
    <dgm:pt modelId="{81B8A9BE-4146-45CF-A88D-F6DBC747D49E}" type="parTrans" cxnId="{E80CAA44-C526-4B82-823D-A1B3AE91E0F5}">
      <dgm:prSet/>
      <dgm:spPr/>
      <dgm:t>
        <a:bodyPr/>
        <a:lstStyle/>
        <a:p>
          <a:endParaRPr lang="es-CL"/>
        </a:p>
      </dgm:t>
    </dgm:pt>
    <dgm:pt modelId="{FEC7B262-ADB0-4DB5-8034-01CCBB56AD3D}" type="sibTrans" cxnId="{E80CAA44-C526-4B82-823D-A1B3AE91E0F5}">
      <dgm:prSet/>
      <dgm:spPr/>
      <dgm:t>
        <a:bodyPr/>
        <a:lstStyle/>
        <a:p>
          <a:endParaRPr lang="es-CL"/>
        </a:p>
      </dgm:t>
    </dgm:pt>
    <dgm:pt modelId="{DA7FE5DD-704D-43A0-934E-2D672942FAAD}">
      <dgm:prSet phldrT="[Texto]" custT="1"/>
      <dgm:spPr>
        <a:xfrm>
          <a:off x="1960066" y="144258"/>
          <a:ext cx="2175867" cy="870346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Qué me puede pasar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1FBD2E85-F8C8-4977-8778-A078EEA7213B}" type="parTrans" cxnId="{3F28BB4A-B5D5-4B05-9FED-4293FBC5BE77}">
      <dgm:prSet/>
      <dgm:spPr/>
      <dgm:t>
        <a:bodyPr/>
        <a:lstStyle/>
        <a:p>
          <a:endParaRPr lang="es-CL"/>
        </a:p>
      </dgm:t>
    </dgm:pt>
    <dgm:pt modelId="{4CD12108-E639-415C-B450-B01D4A45A1BE}" type="sibTrans" cxnId="{3F28BB4A-B5D5-4B05-9FED-4293FBC5BE77}">
      <dgm:prSet/>
      <dgm:spPr/>
      <dgm:t>
        <a:bodyPr/>
        <a:lstStyle/>
        <a:p>
          <a:endParaRPr lang="es-CL"/>
        </a:p>
      </dgm:t>
    </dgm:pt>
    <dgm:pt modelId="{376B677E-317B-48B0-AD56-F32DF8B3D960}">
      <dgm:prSet phldrT="[Texto]" custT="1"/>
      <dgm:spPr>
        <a:xfrm>
          <a:off x="3918346" y="144258"/>
          <a:ext cx="2175867" cy="870346"/>
        </a:xfrm>
        <a:solidFill>
          <a:srgbClr val="00B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Cómo evito el accidente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DDA023AF-5EA8-4894-848C-EB3CE07A2F61}" type="parTrans" cxnId="{D4BDF350-A929-46E4-96C0-1D065DCC6EFA}">
      <dgm:prSet/>
      <dgm:spPr/>
      <dgm:t>
        <a:bodyPr/>
        <a:lstStyle/>
        <a:p>
          <a:endParaRPr lang="es-CL"/>
        </a:p>
      </dgm:t>
    </dgm:pt>
    <dgm:pt modelId="{25AE91C6-3915-462F-B4BF-ED1D03349B2E}" type="sibTrans" cxnId="{D4BDF350-A929-46E4-96C0-1D065DCC6EFA}">
      <dgm:prSet/>
      <dgm:spPr/>
      <dgm:t>
        <a:bodyPr/>
        <a:lstStyle/>
        <a:p>
          <a:endParaRPr lang="es-CL"/>
        </a:p>
      </dgm:t>
    </dgm:pt>
    <dgm:pt modelId="{6A63213C-EEDC-4837-B4D4-B8A4273CE85F}" type="pres">
      <dgm:prSet presAssocID="{D79615AB-B87F-4BBB-8A12-8CE1441BEB97}" presName="Name0" presStyleCnt="0">
        <dgm:presLayoutVars>
          <dgm:dir/>
          <dgm:animLvl val="lvl"/>
          <dgm:resizeHandles val="exact"/>
        </dgm:presLayoutVars>
      </dgm:prSet>
      <dgm:spPr/>
    </dgm:pt>
    <dgm:pt modelId="{E65543F6-4605-41C8-BCB8-88777779D1DC}" type="pres">
      <dgm:prSet presAssocID="{23101244-990E-4F30-BC55-70D5BF2C650B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A88478C1-73AD-4912-8E4B-9880AD1733C0}" type="pres">
      <dgm:prSet presAssocID="{FEC7B262-ADB0-4DB5-8034-01CCBB56AD3D}" presName="parTxOnlySpace" presStyleCnt="0"/>
      <dgm:spPr/>
    </dgm:pt>
    <dgm:pt modelId="{09844E63-A912-442D-88DF-E002A3D3C88D}" type="pres">
      <dgm:prSet presAssocID="{DA7FE5DD-704D-43A0-934E-2D672942FAAD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23B525BF-A55A-4ED4-82E9-B1939A657E5C}" type="pres">
      <dgm:prSet presAssocID="{4CD12108-E639-415C-B450-B01D4A45A1BE}" presName="parTxOnlySpace" presStyleCnt="0"/>
      <dgm:spPr/>
    </dgm:pt>
    <dgm:pt modelId="{89AE2FB3-7782-49F2-A44F-363B53CFC887}" type="pres">
      <dgm:prSet presAssocID="{376B677E-317B-48B0-AD56-F32DF8B3D960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</dgm:ptLst>
  <dgm:cxnLst>
    <dgm:cxn modelId="{7077CFC3-5FA1-4261-94EB-2A073AB586D7}" type="presOf" srcId="{DA7FE5DD-704D-43A0-934E-2D672942FAAD}" destId="{09844E63-A912-442D-88DF-E002A3D3C88D}" srcOrd="0" destOrd="0" presId="urn:microsoft.com/office/officeart/2005/8/layout/chevron1"/>
    <dgm:cxn modelId="{5B2BCACE-EB4F-44A6-9437-CB2E0A6AD4C8}" type="presOf" srcId="{D79615AB-B87F-4BBB-8A12-8CE1441BEB97}" destId="{6A63213C-EEDC-4837-B4D4-B8A4273CE85F}" srcOrd="0" destOrd="0" presId="urn:microsoft.com/office/officeart/2005/8/layout/chevron1"/>
    <dgm:cxn modelId="{E80CAA44-C526-4B82-823D-A1B3AE91E0F5}" srcId="{D79615AB-B87F-4BBB-8A12-8CE1441BEB97}" destId="{23101244-990E-4F30-BC55-70D5BF2C650B}" srcOrd="0" destOrd="0" parTransId="{81B8A9BE-4146-45CF-A88D-F6DBC747D49E}" sibTransId="{FEC7B262-ADB0-4DB5-8034-01CCBB56AD3D}"/>
    <dgm:cxn modelId="{A6F19790-7077-45BF-A72A-57CBDFF4D989}" type="presOf" srcId="{376B677E-317B-48B0-AD56-F32DF8B3D960}" destId="{89AE2FB3-7782-49F2-A44F-363B53CFC887}" srcOrd="0" destOrd="0" presId="urn:microsoft.com/office/officeart/2005/8/layout/chevron1"/>
    <dgm:cxn modelId="{D4BDF350-A929-46E4-96C0-1D065DCC6EFA}" srcId="{D79615AB-B87F-4BBB-8A12-8CE1441BEB97}" destId="{376B677E-317B-48B0-AD56-F32DF8B3D960}" srcOrd="2" destOrd="0" parTransId="{DDA023AF-5EA8-4894-848C-EB3CE07A2F61}" sibTransId="{25AE91C6-3915-462F-B4BF-ED1D03349B2E}"/>
    <dgm:cxn modelId="{3F28BB4A-B5D5-4B05-9FED-4293FBC5BE77}" srcId="{D79615AB-B87F-4BBB-8A12-8CE1441BEB97}" destId="{DA7FE5DD-704D-43A0-934E-2D672942FAAD}" srcOrd="1" destOrd="0" parTransId="{1FBD2E85-F8C8-4977-8778-A078EEA7213B}" sibTransId="{4CD12108-E639-415C-B450-B01D4A45A1BE}"/>
    <dgm:cxn modelId="{AA6D71D1-594C-4FF5-AA39-E592E2E0F5EA}" type="presOf" srcId="{23101244-990E-4F30-BC55-70D5BF2C650B}" destId="{E65543F6-4605-41C8-BCB8-88777779D1DC}" srcOrd="0" destOrd="0" presId="urn:microsoft.com/office/officeart/2005/8/layout/chevron1"/>
    <dgm:cxn modelId="{AAFF54FD-EE4B-4D35-926A-96C1086DB393}" type="presParOf" srcId="{6A63213C-EEDC-4837-B4D4-B8A4273CE85F}" destId="{E65543F6-4605-41C8-BCB8-88777779D1DC}" srcOrd="0" destOrd="0" presId="urn:microsoft.com/office/officeart/2005/8/layout/chevron1"/>
    <dgm:cxn modelId="{80CD7D73-BABF-4768-B278-58E07393D76B}" type="presParOf" srcId="{6A63213C-EEDC-4837-B4D4-B8A4273CE85F}" destId="{A88478C1-73AD-4912-8E4B-9880AD1733C0}" srcOrd="1" destOrd="0" presId="urn:microsoft.com/office/officeart/2005/8/layout/chevron1"/>
    <dgm:cxn modelId="{5823E1B6-F658-4C21-AF45-D106505D7EFA}" type="presParOf" srcId="{6A63213C-EEDC-4837-B4D4-B8A4273CE85F}" destId="{09844E63-A912-442D-88DF-E002A3D3C88D}" srcOrd="2" destOrd="0" presId="urn:microsoft.com/office/officeart/2005/8/layout/chevron1"/>
    <dgm:cxn modelId="{3F7E24ED-5B5A-4421-A6B9-EAD067CE2DF8}" type="presParOf" srcId="{6A63213C-EEDC-4837-B4D4-B8A4273CE85F}" destId="{23B525BF-A55A-4ED4-82E9-B1939A657E5C}" srcOrd="3" destOrd="0" presId="urn:microsoft.com/office/officeart/2005/8/layout/chevron1"/>
    <dgm:cxn modelId="{9A5452FD-04BA-46D0-8E55-B433BB7D4D0E}" type="presParOf" srcId="{6A63213C-EEDC-4837-B4D4-B8A4273CE85F}" destId="{89AE2FB3-7782-49F2-A44F-363B53CFC88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543F6-4605-41C8-BCB8-88777779D1DC}">
      <dsp:nvSpPr>
        <dsp:cNvPr id="0" name=""/>
        <dsp:cNvSpPr/>
      </dsp:nvSpPr>
      <dsp:spPr>
        <a:xfrm>
          <a:off x="2244" y="32436"/>
          <a:ext cx="2734979" cy="1093991"/>
        </a:xfrm>
        <a:prstGeom prst="chevron">
          <a:avLst/>
        </a:prstGeom>
        <a:solidFill>
          <a:srgbClr val="FFFF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>
              <a:solidFill>
                <a:sysClr val="windowText" lastClr="000000">
                  <a:lumMod val="95000"/>
                  <a:lumOff val="5000"/>
                </a:sysClr>
              </a:solidFill>
              <a:latin typeface="ACHS Nueva Sans" pitchFamily="2" charset="0"/>
              <a:ea typeface="+mn-ea"/>
              <a:cs typeface="+mn-cs"/>
            </a:rPr>
            <a:t>¿Qué me puede hacer daño?</a:t>
          </a:r>
          <a:endParaRPr lang="es-CL" sz="1800" kern="1200" dirty="0">
            <a:solidFill>
              <a:sysClr val="windowText" lastClr="000000">
                <a:lumMod val="95000"/>
                <a:lumOff val="5000"/>
              </a:sysClr>
            </a:solidFill>
            <a:latin typeface="ACHS Nueva Sans" pitchFamily="2" charset="0"/>
            <a:ea typeface="+mn-ea"/>
            <a:cs typeface="+mn-cs"/>
          </a:endParaRPr>
        </a:p>
      </dsp:txBody>
      <dsp:txXfrm>
        <a:off x="549240" y="32436"/>
        <a:ext cx="1640988" cy="1093991"/>
      </dsp:txXfrm>
    </dsp:sp>
    <dsp:sp modelId="{09844E63-A912-442D-88DF-E002A3D3C88D}">
      <dsp:nvSpPr>
        <dsp:cNvPr id="0" name=""/>
        <dsp:cNvSpPr/>
      </dsp:nvSpPr>
      <dsp:spPr>
        <a:xfrm>
          <a:off x="2463726" y="32436"/>
          <a:ext cx="2734979" cy="1093991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Qué me puede pasar?</a:t>
          </a:r>
          <a:endParaRPr lang="es-CL" sz="1800" kern="12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sp:txBody>
      <dsp:txXfrm>
        <a:off x="3010722" y="32436"/>
        <a:ext cx="1640988" cy="1093991"/>
      </dsp:txXfrm>
    </dsp:sp>
    <dsp:sp modelId="{89AE2FB3-7782-49F2-A44F-363B53CFC887}">
      <dsp:nvSpPr>
        <dsp:cNvPr id="0" name=""/>
        <dsp:cNvSpPr/>
      </dsp:nvSpPr>
      <dsp:spPr>
        <a:xfrm>
          <a:off x="4925207" y="32436"/>
          <a:ext cx="2734979" cy="1093991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Cómo evito el accidente?</a:t>
          </a:r>
          <a:endParaRPr lang="es-CL" sz="1800" kern="12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sp:txBody>
      <dsp:txXfrm>
        <a:off x="5472203" y="32436"/>
        <a:ext cx="1640988" cy="10939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543F6-4605-41C8-BCB8-88777779D1DC}">
      <dsp:nvSpPr>
        <dsp:cNvPr id="0" name=""/>
        <dsp:cNvSpPr/>
      </dsp:nvSpPr>
      <dsp:spPr>
        <a:xfrm>
          <a:off x="2244" y="32436"/>
          <a:ext cx="2734979" cy="1093991"/>
        </a:xfrm>
        <a:prstGeom prst="chevron">
          <a:avLst/>
        </a:prstGeom>
        <a:solidFill>
          <a:srgbClr val="FFFF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>
              <a:solidFill>
                <a:sysClr val="windowText" lastClr="000000">
                  <a:lumMod val="95000"/>
                  <a:lumOff val="5000"/>
                </a:sysClr>
              </a:solidFill>
              <a:latin typeface="ACHS Nueva Sans" pitchFamily="2" charset="0"/>
              <a:ea typeface="+mn-ea"/>
              <a:cs typeface="+mn-cs"/>
            </a:rPr>
            <a:t>¿Qué me puede hacer daño?</a:t>
          </a:r>
          <a:endParaRPr lang="es-CL" sz="1800" kern="1200" dirty="0">
            <a:solidFill>
              <a:sysClr val="windowText" lastClr="000000">
                <a:lumMod val="95000"/>
                <a:lumOff val="5000"/>
              </a:sysClr>
            </a:solidFill>
            <a:latin typeface="ACHS Nueva Sans" pitchFamily="2" charset="0"/>
            <a:ea typeface="+mn-ea"/>
            <a:cs typeface="+mn-cs"/>
          </a:endParaRPr>
        </a:p>
      </dsp:txBody>
      <dsp:txXfrm>
        <a:off x="549240" y="32436"/>
        <a:ext cx="1640988" cy="1093991"/>
      </dsp:txXfrm>
    </dsp:sp>
    <dsp:sp modelId="{09844E63-A912-442D-88DF-E002A3D3C88D}">
      <dsp:nvSpPr>
        <dsp:cNvPr id="0" name=""/>
        <dsp:cNvSpPr/>
      </dsp:nvSpPr>
      <dsp:spPr>
        <a:xfrm>
          <a:off x="2463726" y="32436"/>
          <a:ext cx="2734979" cy="1093991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Qué me puede pasar?</a:t>
          </a:r>
          <a:endParaRPr lang="es-CL" sz="1800" kern="12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sp:txBody>
      <dsp:txXfrm>
        <a:off x="3010722" y="32436"/>
        <a:ext cx="1640988" cy="1093991"/>
      </dsp:txXfrm>
    </dsp:sp>
    <dsp:sp modelId="{89AE2FB3-7782-49F2-A44F-363B53CFC887}">
      <dsp:nvSpPr>
        <dsp:cNvPr id="0" name=""/>
        <dsp:cNvSpPr/>
      </dsp:nvSpPr>
      <dsp:spPr>
        <a:xfrm>
          <a:off x="4925207" y="32436"/>
          <a:ext cx="2734979" cy="1093991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Cómo evito el accidente?</a:t>
          </a:r>
          <a:endParaRPr lang="es-CL" sz="1800" kern="12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sp:txBody>
      <dsp:txXfrm>
        <a:off x="5472203" y="32436"/>
        <a:ext cx="1640988" cy="10939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07-07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07-07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0C01F7B3-58E9-2133-6A55-32D7FE1CC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C077A69F-3190-0D58-B46C-C69E8307C9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BCF5E803-7D0E-B9E8-945A-488B586DBD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4C85E586-EE23-DF6B-5DD9-991D7CC0EF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712638BD-8B03-78C0-0A3C-3C4D801712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38934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98BF580-88D4-9115-F56D-185DFDB6B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C1D7488E-32BD-D59D-A06C-CBF279937D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F0A43CE1-75D6-2B05-C010-7B4FA5F308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F89FC3F6-425A-10F6-A56F-69E61EE2DD3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684F725F-320F-BF2E-8E86-578514426C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36304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4F0AC859-A759-1A5B-609C-58777E8C52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0349B2EC-4B8F-AF6B-6709-D096BEDB0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9BCE3765-9685-AC71-EBA5-43494449C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ED76C1B2-BBBD-9302-6ABB-5207B65ECC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02FB3BEC-37D8-9D89-3672-8C8201368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782201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01BB273F-A1B8-C620-99BD-EEBC890D65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180A31AA-1A14-E5A4-29CB-01AD3BB909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4BA606B2-8613-7FD3-2C51-5E2A4449B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83089C9F-55B2-8EAA-BF70-55494B2DB31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1E2E7CCE-D56A-1F3C-8FDA-2DB471EDFD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095206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685B3C77-A79B-67BA-5A09-3F37A7CFF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B373DB3C-4D73-5ED3-D755-6FD9C53152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5EB36931-CF4F-854E-DD42-8C8A87F321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B1968E8-CF8D-031B-BFA1-FD9E41F1928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EF57C379-6FCE-E3C5-7CE8-EDB5BF67B0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02190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930D3AF-8114-D23A-B85F-9E80A54C2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95E9C786-2A02-9CCB-27CB-1560EE780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FF66624B-5D1E-46B0-D9F5-EF6B1AA3A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4B7F723C-5120-D87F-4B50-D226403A65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5A3EC23B-2A91-4416-C6CF-842BC14BE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636627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AF4EC7B6-8874-2540-C7F9-2B007A39EF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2BB34121-0062-1958-FE4C-4724C92EA2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A0EBFAF6-53FF-BD2E-52AF-8DEB54C4F8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A1C2BFC8-CA6E-68EF-4B37-F7D4C8940E9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64931CF8-8D5E-0445-6E1F-6D9EB578E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572730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78062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dirty="0">
                <a:solidFill>
                  <a:srgbClr val="004A51"/>
                </a:solidFill>
                <a:latin typeface="Arial"/>
                <a:ea typeface="Arial"/>
                <a:cs typeface="Arial"/>
                <a:sym typeface="Arial"/>
              </a:rPr>
              <a:t>(OSHA 1926.502 (b1)(1)), </a:t>
            </a:r>
            <a:r>
              <a:rPr lang="es-C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ministración de Seguridad y Salud Ocupacional</a:t>
            </a:r>
            <a:endParaRPr lang="es-ES" sz="1200" dirty="0">
              <a:solidFill>
                <a:srgbClr val="004A51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s-ES" sz="1200" dirty="0">
              <a:solidFill>
                <a:srgbClr val="004A51"/>
              </a:solidFill>
              <a:latin typeface="Arial"/>
              <a:cs typeface="Arial"/>
              <a:sym typeface="Arial"/>
            </a:endParaRPr>
          </a:p>
          <a:p>
            <a:r>
              <a:rPr lang="es-ES" sz="1200" dirty="0">
                <a:solidFill>
                  <a:srgbClr val="004A51"/>
                </a:solidFill>
                <a:latin typeface="Arial"/>
                <a:ea typeface="Arial"/>
                <a:cs typeface="Arial"/>
                <a:sym typeface="Arial"/>
              </a:rPr>
              <a:t>Resolución exenta 1031</a:t>
            </a:r>
            <a:endParaRPr lang="es-ES" sz="1200" dirty="0">
              <a:solidFill>
                <a:srgbClr val="004A51"/>
              </a:solidFill>
              <a:latin typeface="Arial"/>
              <a:cs typeface="Arial"/>
              <a:sym typeface="Arial"/>
            </a:endParaRPr>
          </a:p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2087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318EE746-D692-DFBC-830F-AE374288A9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890D76B7-018D-09D0-C119-CD73464639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542C95B6-1768-F840-2AD6-50E0B2B7E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200" dirty="0">
              <a:solidFill>
                <a:srgbClr val="004A5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2E5EA845-2932-EAD5-26DF-06D18FD87B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47CB558C-9622-3739-E5F9-5B770384F4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73367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68230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92934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41535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6752771-FE70-4897-141F-40ADD9B7B9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DB059A66-55B8-EFA9-DFEA-9798B918F7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1585A4CC-731E-D817-F1CA-304005F7A5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0DF85388-7943-FB18-1D61-E170C9E8AEE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5B3DDEAB-5DA5-D91E-044F-DE00E36DD3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44359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6752771-FE70-4897-141F-40ADD9B7B9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DB059A66-55B8-EFA9-DFEA-9798B918F7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1585A4CC-731E-D817-F1CA-304005F7A5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0DF85388-7943-FB18-1D61-E170C9E8AEE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5B3DDEAB-5DA5-D91E-044F-DE00E36DD3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45303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43A4A9D-3A15-785C-45E7-3748565145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="" xmlns:a16="http://schemas.microsoft.com/office/drawing/2014/main" id="{CA41B5FF-7686-A9FD-6343-3787286A01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="" xmlns:a16="http://schemas.microsoft.com/office/drawing/2014/main" id="{EDD36F7B-435D-62CC-8AC8-DD99E08024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34FDAA67-27D3-A684-C269-67DEBC51CC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CD273EFD-5C0F-5E21-D1F5-E276CAECE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91979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0.xml"/><Relationship Id="rId7" Type="http://schemas.openxmlformats.org/officeDocument/2006/relationships/image" Target="../media/image1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3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246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36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8823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xmlns="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701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300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255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873433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063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57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669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169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72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4643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884955"/>
            <a:ext cx="3178629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dirty="0" err="1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sz="2400" b="1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b="1" dirty="0" err="1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sz="2400" b="1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b="1" dirty="0" err="1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cuidado</a:t>
            </a:r>
            <a:endParaRPr sz="2400" b="1" dirty="0">
              <a:solidFill>
                <a:srgbClr val="FFFFFF"/>
              </a:solidFill>
              <a:latin typeface="ACHS Nueva Sans Medium" pitchFamily="2" charset="77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0875361A-E1FF-6157-D725-8A6791B912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32" y="2550695"/>
            <a:ext cx="2367936" cy="110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7284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tivos 3 punt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0" i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r>
              <a:rPr lang="es-ES" dirty="0"/>
              <a:t>Menú</a:t>
            </a:r>
            <a:endParaRPr lang="es-CL" dirty="0"/>
          </a:p>
        </p:txBody>
      </p:sp>
      <p:sp>
        <p:nvSpPr>
          <p:cNvPr id="9" name="Marcador de texto 4">
            <a:extLst>
              <a:ext uri="{FF2B5EF4-FFF2-40B4-BE49-F238E27FC236}">
                <a16:creationId xmlns=""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4">
            <a:extLst>
              <a:ext uri="{FF2B5EF4-FFF2-40B4-BE49-F238E27FC236}">
                <a16:creationId xmlns=""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=""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=""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68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1216">
          <p15:clr>
            <a:srgbClr val="FBAE40"/>
          </p15:clr>
        </p15:guide>
        <p15:guide id="4294967295" orient="horz" pos="2344">
          <p15:clr>
            <a:srgbClr val="FBAE40"/>
          </p15:clr>
        </p15:guide>
        <p15:guide id="4294967295" orient="horz" pos="3373">
          <p15:clr>
            <a:srgbClr val="FBAE40"/>
          </p15:clr>
        </p15:guide>
        <p15:guide id="4294967295" orient="horz" pos="3443">
          <p15:clr>
            <a:srgbClr val="FBAE40"/>
          </p15:clr>
        </p15:guide>
        <p15:guide id="4294967295" orient="horz" pos="2273">
          <p15:clr>
            <a:srgbClr val="FBAE40"/>
          </p15:clr>
        </p15:guide>
        <p15:guide id="4294967295" orient="horz" pos="1146">
          <p15:clr>
            <a:srgbClr val="FBAE40"/>
          </p15:clr>
        </p15:guide>
        <p15:guide id="4294967295" pos="377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48857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041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223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22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533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95047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362458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207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514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291">
          <p15:clr>
            <a:srgbClr val="FBAE40"/>
          </p15:clr>
        </p15:guide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6965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291">
          <p15:clr>
            <a:srgbClr val="FBAE40"/>
          </p15:clr>
        </p15:guide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 i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916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291">
          <p15:clr>
            <a:srgbClr val="FBAE40"/>
          </p15:clr>
        </p15:guide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4366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606848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ans Medium" pitchFamily="2" charset="77"/>
                <a:ea typeface="ACHS Nueva Sans Medium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ans Medium" pitchFamily="2" charset="77"/>
                <a:ea typeface="ACHS Nueva Sans Medium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766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4294967295" pos="331">
          <p15:clr>
            <a:srgbClr val="FBAE40"/>
          </p15:clr>
        </p15:guide>
        <p15:guide id="4294967295" pos="3861">
          <p15:clr>
            <a:srgbClr val="FBAE40"/>
          </p15:clr>
        </p15:guide>
        <p15:guide id="4294967295" orient="horz" pos="25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NTILLA DESCANS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556501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4B2D577F-04CC-2843-B161-AC699B6C57C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AF956C5-F42B-7442-BFDE-1292F33F3F3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="" xmlns:a16="http://schemas.microsoft.com/office/drawing/2014/main" id="{CF3B6972-9C69-F24C-ADB4-E0222D2A74C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="" xmlns:a16="http://schemas.microsoft.com/office/drawing/2014/main" id="{1E691443-5933-474F-AB3C-C768978624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35" y="391614"/>
            <a:ext cx="1380931" cy="645524"/>
          </a:xfrm>
          <a:prstGeom prst="rect">
            <a:avLst/>
          </a:prstGeom>
        </p:spPr>
      </p:pic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347D31C8-6BFF-A949-A891-E934438B958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cxnSp>
        <p:nvCxnSpPr>
          <p:cNvPr id="32" name="Conector recto 18">
            <a:extLst>
              <a:ext uri="{FF2B5EF4-FFF2-40B4-BE49-F238E27FC236}">
                <a16:creationId xmlns="" xmlns:a16="http://schemas.microsoft.com/office/drawing/2014/main" id="{13F69903-766F-A24D-A94A-C10275359A5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00078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26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25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vmlDrawing" Target="../drawings/vmlDrawing22.v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oleObject" Target="../embeddings/oleObject2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a de think-cell" r:id="rId16" imgW="415" imgH="416" progId="TCLayout.ActiveDocument.1">
                  <p:embed/>
                </p:oleObj>
              </mc:Choice>
              <mc:Fallback>
                <p:oleObj name="Diapositiva de think-cell" r:id="rId16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665" r:id="rId6"/>
    <p:sldLayoutId id="2147483702" r:id="rId7"/>
    <p:sldLayoutId id="2147483699" r:id="rId8"/>
    <p:sldLayoutId id="2147483703" r:id="rId9"/>
    <p:sldLayoutId id="2147483689" r:id="rId10"/>
    <p:sldLayoutId id="2147483696" r:id="rId11"/>
    <p:sldLayoutId id="2147483695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214521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Diapositiva de think-cell" r:id="rId22" imgW="415" imgH="416" progId="TCLayout.ActiveDocument.1">
                  <p:embed/>
                </p:oleObj>
              </mc:Choice>
              <mc:Fallback>
                <p:oleObj name="Diapositiva de think-cell" r:id="rId2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20"/>
    </p:custDataLst>
    <p:extLst>
      <p:ext uri="{BB962C8B-B14F-4D97-AF65-F5344CB8AC3E}">
        <p14:creationId xmlns:p14="http://schemas.microsoft.com/office/powerpoint/2010/main" val="1694295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emf"/><Relationship Id="rId5" Type="http://schemas.openxmlformats.org/officeDocument/2006/relationships/image" Target="../media/image14.svg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3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1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sv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images.lun.com/lunservercontents/Imagenes%20de%20la%20galeria%20de%20la%20foto/2015/may/24/m1_768_Cunas(1).jpg">
            <a:extLst>
              <a:ext uri="{FF2B5EF4-FFF2-40B4-BE49-F238E27FC236}">
                <a16:creationId xmlns="" xmlns:a16="http://schemas.microsoft.com/office/drawing/2014/main" id="{71263A71-24B3-C451-24E7-EFD948BEFD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56" r="164" b="15955"/>
          <a:stretch/>
        </p:blipFill>
        <p:spPr bwMode="auto">
          <a:xfrm>
            <a:off x="-498777" y="1"/>
            <a:ext cx="1269077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="" xmlns:a16="http://schemas.microsoft.com/office/drawing/2014/main" id="{F609896A-334B-2864-A6D5-2B94CF28CA71}"/>
              </a:ext>
            </a:extLst>
          </p:cNvPr>
          <p:cNvSpPr/>
          <p:nvPr/>
        </p:nvSpPr>
        <p:spPr>
          <a:xfrm>
            <a:off x="-1" y="-1"/>
            <a:ext cx="12211972" cy="685800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74000">
                <a:schemeClr val="tx1">
                  <a:alpha val="51877"/>
                </a:schemeClr>
              </a:gs>
              <a:gs pos="95000">
                <a:schemeClr val="tx1">
                  <a:alpha val="46000"/>
                </a:schemeClr>
              </a:gs>
              <a:gs pos="95000">
                <a:schemeClr val="tx1">
                  <a:alpha val="65451"/>
                </a:schemeClr>
              </a:gs>
            </a:gsLst>
            <a:lin ang="5400000" scaled="1"/>
          </a:gradFill>
          <a:ln>
            <a:noFill/>
          </a:ln>
          <a:effectLst>
            <a:outerShdw dist="50800" dir="498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2" y="5177790"/>
            <a:ext cx="10423526" cy="1451610"/>
          </a:xfrm>
        </p:spPr>
        <p:txBody>
          <a:bodyPr>
            <a:normAutofit/>
          </a:bodyPr>
          <a:lstStyle/>
          <a:p>
            <a:pPr defTabSz="913852">
              <a:lnSpc>
                <a:spcPts val="4698"/>
              </a:lnSpc>
              <a:spcBef>
                <a:spcPct val="0"/>
              </a:spcBef>
              <a:defRPr/>
            </a:pPr>
            <a:r>
              <a:rPr lang="es-CL" sz="3200" spc="-150" dirty="0">
                <a:solidFill>
                  <a:schemeClr val="bg1"/>
                </a:solidFill>
                <a:latin typeface="ACHS Nueva Serif" pitchFamily="2" charset="77"/>
                <a:ea typeface="+mj-ea"/>
                <a:cs typeface="Arial" panose="020B0604020202020204" pitchFamily="34" charset="0"/>
              </a:rPr>
              <a:t>Hábitos seguros para prevenir </a:t>
            </a:r>
            <a:r>
              <a:rPr lang="es-ES" sz="3200" spc="-150" dirty="0">
                <a:solidFill>
                  <a:schemeClr val="bg1"/>
                </a:solidFill>
                <a:latin typeface="ACHS Nueva Serif" pitchFamily="2" charset="77"/>
                <a:ea typeface="+mj-ea"/>
                <a:cs typeface="Arial" panose="020B0604020202020204" pitchFamily="34" charset="0"/>
                <a:sym typeface="Arial"/>
              </a:rPr>
              <a:t>lesiones músculo esqueléticas </a:t>
            </a:r>
            <a:r>
              <a:rPr lang="es-CL" sz="3200" spc="-150" dirty="0">
                <a:solidFill>
                  <a:schemeClr val="bg1"/>
                </a:solidFill>
                <a:latin typeface="ACHS Nueva Serif" pitchFamily="2" charset="77"/>
                <a:ea typeface="+mj-ea"/>
                <a:cs typeface="Arial" panose="020B0604020202020204" pitchFamily="34" charset="0"/>
                <a:sym typeface="Arial"/>
              </a:rPr>
              <a:t>en salas cunas y jardines infantiles.</a:t>
            </a:r>
            <a:endParaRPr lang="es-ES" sz="3200" spc="-150" dirty="0">
              <a:solidFill>
                <a:schemeClr val="bg1"/>
              </a:solidFill>
              <a:latin typeface="ACHS Nueva Serif" pitchFamily="2" charset="77"/>
              <a:ea typeface="+mj-ea"/>
              <a:cs typeface="Arial" panose="020B0604020202020204" pitchFamily="34" charset="0"/>
              <a:sym typeface="Arial"/>
            </a:endParaRPr>
          </a:p>
          <a:p>
            <a:pPr defTabSz="913852">
              <a:lnSpc>
                <a:spcPts val="4698"/>
              </a:lnSpc>
              <a:spcBef>
                <a:spcPct val="0"/>
              </a:spcBef>
              <a:defRPr/>
            </a:pPr>
            <a:endParaRPr lang="es-CL" sz="3200" spc="-15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defTabSz="913852">
              <a:lnSpc>
                <a:spcPts val="4698"/>
              </a:lnSpc>
              <a:spcBef>
                <a:spcPct val="0"/>
              </a:spcBef>
              <a:defRPr/>
            </a:pPr>
            <a:endParaRPr lang="es-CL" sz="3200" spc="-150" dirty="0">
              <a:solidFill>
                <a:srgbClr val="FFFC00"/>
              </a:solidFill>
              <a:latin typeface="ACHS Nueva Serif" pitchFamily="2" charset="77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7E0C2104-DC15-7C4B-BD0B-23CF23EA3110}"/>
              </a:ext>
            </a:extLst>
          </p:cNvPr>
          <p:cNvSpPr/>
          <p:nvPr/>
        </p:nvSpPr>
        <p:spPr>
          <a:xfrm>
            <a:off x="449262" y="4637989"/>
            <a:ext cx="2211491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</a:t>
            </a:r>
            <a:r>
              <a:rPr lang="es-CL" dirty="0" smtClean="0">
                <a:solidFill>
                  <a:schemeClr val="bg2"/>
                </a:solidFill>
                <a:latin typeface="ACHS Nueva Sans Medium" pitchFamily="2" charset="77"/>
              </a:rPr>
              <a:t>harla </a:t>
            </a:r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/ Presencial</a:t>
            </a:r>
          </a:p>
        </p:txBody>
      </p:sp>
      <p:pic>
        <p:nvPicPr>
          <p:cNvPr id="26" name="Picture 9">
            <a:extLst>
              <a:ext uri="{FF2B5EF4-FFF2-40B4-BE49-F238E27FC236}">
                <a16:creationId xmlns="" xmlns:a16="http://schemas.microsoft.com/office/drawing/2014/main" id="{20F5065D-3A44-8E4F-AD76-1D18590DEE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82B7E1D-40A7-45C7-B3FF-443373B4A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2E5C9D93-741F-12F1-7E42-C8757575CF4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¿Cómo aplicar ODE en tu vida personal?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504B2722-60EB-3C98-64F0-9A407D07314D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6423026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Imagina que eres tú quien está cruzando con un niño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="" xmlns:a16="http://schemas.microsoft.com/office/drawing/2014/main" id="{84D5CCF9-C497-86CE-DA77-EE5F6C27AD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14" t="35539" r="10547" b="33507"/>
          <a:stretch>
            <a:fillRect/>
          </a:stretch>
        </p:blipFill>
        <p:spPr bwMode="auto">
          <a:xfrm>
            <a:off x="1359160" y="2043393"/>
            <a:ext cx="9473679" cy="2738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>
            <a:extLst>
              <a:ext uri="{FF2B5EF4-FFF2-40B4-BE49-F238E27FC236}">
                <a16:creationId xmlns="" xmlns:a16="http://schemas.microsoft.com/office/drawing/2014/main" id="{9183640F-9F8D-8D36-1612-B45468887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0" t="48666" r="72327" b="31641"/>
          <a:stretch>
            <a:fillRect/>
          </a:stretch>
        </p:blipFill>
        <p:spPr bwMode="auto">
          <a:xfrm>
            <a:off x="2010136" y="5000832"/>
            <a:ext cx="1312006" cy="1253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="" xmlns:a16="http://schemas.microsoft.com/office/drawing/2014/main" id="{771F05EA-2CDC-7CD7-57C3-8C7B297B1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48" t="28294" r="72156" b="52692"/>
          <a:stretch>
            <a:fillRect/>
          </a:stretch>
        </p:blipFill>
        <p:spPr bwMode="auto">
          <a:xfrm>
            <a:off x="2010136" y="5392945"/>
            <a:ext cx="1312005" cy="122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="" xmlns:a16="http://schemas.microsoft.com/office/drawing/2014/main" id="{1584E79A-A762-95A3-EE6F-6C32038A8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53" t="48666" r="45331" b="30508"/>
          <a:stretch>
            <a:fillRect/>
          </a:stretch>
        </p:blipFill>
        <p:spPr bwMode="auto">
          <a:xfrm>
            <a:off x="5345950" y="4969436"/>
            <a:ext cx="1428557" cy="1252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>
            <a:extLst>
              <a:ext uri="{FF2B5EF4-FFF2-40B4-BE49-F238E27FC236}">
                <a16:creationId xmlns="" xmlns:a16="http://schemas.microsoft.com/office/drawing/2014/main" id="{B2529386-43F8-5B0E-52F8-D8CAD5C67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41" t="48894" r="16299" b="30057"/>
          <a:stretch>
            <a:fillRect/>
          </a:stretch>
        </p:blipFill>
        <p:spPr bwMode="auto">
          <a:xfrm>
            <a:off x="8798315" y="4969436"/>
            <a:ext cx="1516759" cy="120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="" xmlns:a16="http://schemas.microsoft.com/office/drawing/2014/main" id="{403E3778-BCB5-E3A5-67D8-5C04C80D0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45" t="28294" r="45161" b="51785"/>
          <a:stretch>
            <a:fillRect/>
          </a:stretch>
        </p:blipFill>
        <p:spPr bwMode="auto">
          <a:xfrm>
            <a:off x="5345950" y="5348849"/>
            <a:ext cx="1428557" cy="1218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="" xmlns:a16="http://schemas.microsoft.com/office/drawing/2014/main" id="{28192CAE-EBAE-31EA-8E7E-2CAC9511C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41" t="27843" r="14771" b="51334"/>
          <a:stretch>
            <a:fillRect/>
          </a:stretch>
        </p:blipFill>
        <p:spPr bwMode="auto">
          <a:xfrm>
            <a:off x="8798315" y="5300938"/>
            <a:ext cx="1516759" cy="120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3833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19A59DC-9729-E85E-867A-516D26223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718C5D8B-8428-9E45-5C71-86C4BE6E40D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l ODE en tu trabajo</a:t>
            </a:r>
          </a:p>
        </p:txBody>
      </p:sp>
      <p:pic>
        <p:nvPicPr>
          <p:cNvPr id="5" name="Imagen 6">
            <a:extLst>
              <a:ext uri="{FF2B5EF4-FFF2-40B4-BE49-F238E27FC236}">
                <a16:creationId xmlns="" xmlns:a16="http://schemas.microsoft.com/office/drawing/2014/main" id="{58094D9B-B873-95E4-93AB-996ABA84C5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4" t="22874" r="48032" b="12376"/>
          <a:stretch>
            <a:fillRect/>
          </a:stretch>
        </p:blipFill>
        <p:spPr bwMode="auto">
          <a:xfrm>
            <a:off x="2505221" y="1309500"/>
            <a:ext cx="4062654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n 7">
            <a:extLst>
              <a:ext uri="{FF2B5EF4-FFF2-40B4-BE49-F238E27FC236}">
                <a16:creationId xmlns="" xmlns:a16="http://schemas.microsoft.com/office/drawing/2014/main" id="{BAC85E9C-DCB6-0E7F-7430-18AFE91212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94" t="22874" r="5376" b="12376"/>
          <a:stretch>
            <a:fillRect/>
          </a:stretch>
        </p:blipFill>
        <p:spPr bwMode="auto">
          <a:xfrm>
            <a:off x="6567875" y="1309500"/>
            <a:ext cx="2689414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14 Diagrama">
            <a:extLst>
              <a:ext uri="{FF2B5EF4-FFF2-40B4-BE49-F238E27FC236}">
                <a16:creationId xmlns="" xmlns:a16="http://schemas.microsoft.com/office/drawing/2014/main" id="{7043B746-D7E1-D3C6-9123-A5181B3CC6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5124288"/>
              </p:ext>
            </p:extLst>
          </p:nvPr>
        </p:nvGraphicFramePr>
        <p:xfrm>
          <a:off x="2234637" y="5202565"/>
          <a:ext cx="7662432" cy="11588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49282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4A9256A3-A7F8-D6F3-81FF-735D75A3E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617D6538-B490-FA68-EB25-5B1C0203EF0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l ODE en tu trabajo</a:t>
            </a:r>
          </a:p>
        </p:txBody>
      </p:sp>
      <p:pic>
        <p:nvPicPr>
          <p:cNvPr id="2" name="Imagen 11">
            <a:extLst>
              <a:ext uri="{FF2B5EF4-FFF2-40B4-BE49-F238E27FC236}">
                <a16:creationId xmlns="" xmlns:a16="http://schemas.microsoft.com/office/drawing/2014/main" id="{0669B42F-A5B4-46F4-7179-2849AB31CB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26" t="17625" r="5376" b="18500"/>
          <a:stretch>
            <a:fillRect/>
          </a:stretch>
        </p:blipFill>
        <p:spPr bwMode="auto">
          <a:xfrm>
            <a:off x="6510569" y="1309500"/>
            <a:ext cx="2746720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n 4">
            <a:extLst>
              <a:ext uri="{FF2B5EF4-FFF2-40B4-BE49-F238E27FC236}">
                <a16:creationId xmlns="" xmlns:a16="http://schemas.microsoft.com/office/drawing/2014/main" id="{51884AAA-BE93-B55E-A0EC-54B8074DDC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0" t="17625" r="46063" b="18500"/>
          <a:stretch>
            <a:fillRect/>
          </a:stretch>
        </p:blipFill>
        <p:spPr bwMode="auto">
          <a:xfrm>
            <a:off x="2506595" y="1309500"/>
            <a:ext cx="4003974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14 Diagrama">
            <a:extLst>
              <a:ext uri="{FF2B5EF4-FFF2-40B4-BE49-F238E27FC236}">
                <a16:creationId xmlns="" xmlns:a16="http://schemas.microsoft.com/office/drawing/2014/main" id="{852919F7-CF03-70FB-A50E-8E4DC306C9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9173430"/>
              </p:ext>
            </p:extLst>
          </p:nvPr>
        </p:nvGraphicFramePr>
        <p:xfrm>
          <a:off x="2234637" y="5202565"/>
          <a:ext cx="7662432" cy="11588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27886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827B17AE-D604-6C5D-B547-25AEE4D83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23AD5E65-40A6-CABC-1FB8-8F6EA7D2D2AB}"/>
              </a:ext>
            </a:extLst>
          </p:cNvPr>
          <p:cNvSpPr/>
          <p:nvPr/>
        </p:nvSpPr>
        <p:spPr>
          <a:xfrm rot="360000">
            <a:off x="8339138" y="2554975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D98C995C-0B10-1CC9-8D18-98D252D98371}"/>
              </a:ext>
            </a:extLst>
          </p:cNvPr>
          <p:cNvSpPr/>
          <p:nvPr/>
        </p:nvSpPr>
        <p:spPr>
          <a:xfrm rot="360000">
            <a:off x="4385198" y="2480025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redondeado 1">
            <a:extLst>
              <a:ext uri="{FF2B5EF4-FFF2-40B4-BE49-F238E27FC236}">
                <a16:creationId xmlns="" xmlns:a16="http://schemas.microsoft.com/office/drawing/2014/main" id="{093719A2-364E-2AA8-1608-5182D5D63478}"/>
              </a:ext>
            </a:extLst>
          </p:cNvPr>
          <p:cNvSpPr/>
          <p:nvPr/>
        </p:nvSpPr>
        <p:spPr>
          <a:xfrm rot="360000">
            <a:off x="405036" y="2411719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1429A8D1-9118-3508-49D1-5ADBF5689FF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C0E63A58-69A5-7370-D9E8-97AF38FC6EC1}"/>
              </a:ext>
            </a:extLst>
          </p:cNvPr>
          <p:cNvSpPr txBox="1">
            <a:spLocks/>
          </p:cNvSpPr>
          <p:nvPr/>
        </p:nvSpPr>
        <p:spPr>
          <a:xfrm>
            <a:off x="449262" y="129924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 espalda</a:t>
            </a:r>
          </a:p>
        </p:txBody>
      </p:sp>
      <p:sp>
        <p:nvSpPr>
          <p:cNvPr id="3" name="Rectángulo 6">
            <a:extLst>
              <a:ext uri="{FF2B5EF4-FFF2-40B4-BE49-F238E27FC236}">
                <a16:creationId xmlns="" xmlns:a16="http://schemas.microsoft.com/office/drawing/2014/main" id="{F35A1B84-9806-98A9-C827-CFE011CE0F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6043" y="1584053"/>
            <a:ext cx="37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Rotación de tronco:</a:t>
            </a:r>
          </a:p>
        </p:txBody>
      </p:sp>
      <p:pic>
        <p:nvPicPr>
          <p:cNvPr id="5" name="Imagen 7">
            <a:extLst>
              <a:ext uri="{FF2B5EF4-FFF2-40B4-BE49-F238E27FC236}">
                <a16:creationId xmlns="" xmlns:a16="http://schemas.microsoft.com/office/drawing/2014/main" id="{E0EA961F-0D40-FDAF-2B43-8701D866AF0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2" y="2423572"/>
            <a:ext cx="3195511" cy="3304022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6" name="Imagen 8">
            <a:extLst>
              <a:ext uri="{FF2B5EF4-FFF2-40B4-BE49-F238E27FC236}">
                <a16:creationId xmlns="" xmlns:a16="http://schemas.microsoft.com/office/drawing/2014/main" id="{4F229870-CC97-47B6-3EB5-1C96C3C090D3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627" y="2483532"/>
            <a:ext cx="3195511" cy="3304022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7" name="Imagen 9">
            <a:extLst>
              <a:ext uri="{FF2B5EF4-FFF2-40B4-BE49-F238E27FC236}">
                <a16:creationId xmlns="" xmlns:a16="http://schemas.microsoft.com/office/drawing/2014/main" id="{FDAD8EB8-69F3-3B73-9E8A-D68B4BF64D46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666" y="2532828"/>
            <a:ext cx="3195511" cy="3304022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51912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08131A1-8409-F3BA-A68D-73A18B1F7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="" xmlns:a16="http://schemas.microsoft.com/office/drawing/2014/main" id="{F2B8A0E4-B92B-2BDF-8419-7D104507EA94}"/>
              </a:ext>
            </a:extLst>
          </p:cNvPr>
          <p:cNvSpPr/>
          <p:nvPr/>
        </p:nvSpPr>
        <p:spPr>
          <a:xfrm rot="360000">
            <a:off x="6276990" y="2399121"/>
            <a:ext cx="4141499" cy="3971664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9337F41E-6052-F958-0A78-5C823C68FA5A}"/>
              </a:ext>
            </a:extLst>
          </p:cNvPr>
          <p:cNvSpPr/>
          <p:nvPr/>
        </p:nvSpPr>
        <p:spPr>
          <a:xfrm rot="360000">
            <a:off x="1131487" y="2269585"/>
            <a:ext cx="3904208" cy="4013107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954323CB-F5BC-836B-C3ED-8D9A3EE9C9B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91E7F036-96D0-6525-546C-A95689DBD65E}"/>
              </a:ext>
            </a:extLst>
          </p:cNvPr>
          <p:cNvSpPr txBox="1">
            <a:spLocks/>
          </p:cNvSpPr>
          <p:nvPr/>
        </p:nvSpPr>
        <p:spPr>
          <a:xfrm>
            <a:off x="449262" y="129924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 espalda</a:t>
            </a:r>
          </a:p>
        </p:txBody>
      </p:sp>
      <p:sp>
        <p:nvSpPr>
          <p:cNvPr id="2" name="Rectángulo 6">
            <a:extLst>
              <a:ext uri="{FF2B5EF4-FFF2-40B4-BE49-F238E27FC236}">
                <a16:creationId xmlns="" xmlns:a16="http://schemas.microsoft.com/office/drawing/2014/main" id="{CD548986-9375-8753-2A8D-CC45F7F35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8525" y="1561729"/>
            <a:ext cx="37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Elongación de tronco:</a:t>
            </a:r>
          </a:p>
        </p:txBody>
      </p:sp>
      <p:pic>
        <p:nvPicPr>
          <p:cNvPr id="9" name="Imagen 1">
            <a:extLst>
              <a:ext uri="{FF2B5EF4-FFF2-40B4-BE49-F238E27FC236}">
                <a16:creationId xmlns="" xmlns:a16="http://schemas.microsoft.com/office/drawing/2014/main" id="{2A042E42-D5B5-D1CE-3A8E-0FA7883E0D7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414" y="2328981"/>
            <a:ext cx="3884396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10" name="Imagen 5">
            <a:extLst>
              <a:ext uri="{FF2B5EF4-FFF2-40B4-BE49-F238E27FC236}">
                <a16:creationId xmlns="" xmlns:a16="http://schemas.microsoft.com/office/drawing/2014/main" id="{9105150E-1C46-B742-A01C-329D1220563A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9"/>
          <a:stretch>
            <a:fillRect/>
          </a:stretch>
        </p:blipFill>
        <p:spPr bwMode="auto">
          <a:xfrm>
            <a:off x="6430678" y="2365503"/>
            <a:ext cx="3884396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12959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6E744F5C-BF48-E540-8653-FA73326248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redondeado 6">
            <a:extLst>
              <a:ext uri="{FF2B5EF4-FFF2-40B4-BE49-F238E27FC236}">
                <a16:creationId xmlns="" xmlns:a16="http://schemas.microsoft.com/office/drawing/2014/main" id="{A9FAE8CF-5D64-57BD-504D-1BE6C1D07573}"/>
              </a:ext>
            </a:extLst>
          </p:cNvPr>
          <p:cNvSpPr/>
          <p:nvPr/>
        </p:nvSpPr>
        <p:spPr>
          <a:xfrm rot="360000">
            <a:off x="6217297" y="2328225"/>
            <a:ext cx="4470636" cy="4066911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redondeado 1">
            <a:extLst>
              <a:ext uri="{FF2B5EF4-FFF2-40B4-BE49-F238E27FC236}">
                <a16:creationId xmlns="" xmlns:a16="http://schemas.microsoft.com/office/drawing/2014/main" id="{98584636-6A71-7B7A-B846-C82401BB4D91}"/>
              </a:ext>
            </a:extLst>
          </p:cNvPr>
          <p:cNvSpPr/>
          <p:nvPr/>
        </p:nvSpPr>
        <p:spPr>
          <a:xfrm rot="360000">
            <a:off x="1378861" y="2226587"/>
            <a:ext cx="4288718" cy="421016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116886B5-FE46-79E8-BE26-9E43CFACE41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B909C763-67D4-61E3-7528-FB8678F6C77D}"/>
              </a:ext>
            </a:extLst>
          </p:cNvPr>
          <p:cNvSpPr txBox="1">
            <a:spLocks/>
          </p:cNvSpPr>
          <p:nvPr/>
        </p:nvSpPr>
        <p:spPr>
          <a:xfrm>
            <a:off x="449262" y="1298445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s pierna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9516DEDA-3982-D08E-8E0C-F7A4AEC94189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961" y="2365503"/>
            <a:ext cx="4248472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D4C2ACDB-7C99-1EFE-1FF1-33826302692F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47"/>
          <a:stretch>
            <a:fillRect/>
          </a:stretch>
        </p:blipFill>
        <p:spPr bwMode="auto">
          <a:xfrm>
            <a:off x="6380193" y="2365503"/>
            <a:ext cx="4248472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6" name="Rectángulo 6">
            <a:extLst>
              <a:ext uri="{FF2B5EF4-FFF2-40B4-BE49-F238E27FC236}">
                <a16:creationId xmlns="" xmlns:a16="http://schemas.microsoft.com/office/drawing/2014/main" id="{278195C6-8C35-9C41-106F-1F18DE253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3858" y="1568271"/>
            <a:ext cx="37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Flexión de rodilla:</a:t>
            </a:r>
          </a:p>
        </p:txBody>
      </p:sp>
    </p:spTree>
    <p:extLst>
      <p:ext uri="{BB962C8B-B14F-4D97-AF65-F5344CB8AC3E}">
        <p14:creationId xmlns:p14="http://schemas.microsoft.com/office/powerpoint/2010/main" val="5317171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605CC208-F13A-BB6C-A063-0DB40D5B8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="" xmlns:a16="http://schemas.microsoft.com/office/drawing/2014/main" id="{36DCBECC-0A8F-610D-4615-66116FDC239D}"/>
              </a:ext>
            </a:extLst>
          </p:cNvPr>
          <p:cNvSpPr/>
          <p:nvPr/>
        </p:nvSpPr>
        <p:spPr>
          <a:xfrm rot="360000">
            <a:off x="6016173" y="2452760"/>
            <a:ext cx="4279118" cy="3952074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CB17DA3B-838C-FB49-8489-B6EFD918E611}"/>
              </a:ext>
            </a:extLst>
          </p:cNvPr>
          <p:cNvSpPr/>
          <p:nvPr/>
        </p:nvSpPr>
        <p:spPr>
          <a:xfrm rot="360000">
            <a:off x="1104672" y="2319273"/>
            <a:ext cx="4258544" cy="4150573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D05C77E3-B830-98BF-AE8E-B54B16927C6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D7C121D2-A706-F1E3-437A-BFBC9E303DE8}"/>
              </a:ext>
            </a:extLst>
          </p:cNvPr>
          <p:cNvSpPr txBox="1">
            <a:spLocks/>
          </p:cNvSpPr>
          <p:nvPr/>
        </p:nvSpPr>
        <p:spPr>
          <a:xfrm>
            <a:off x="449262" y="1299241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s pierna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1C428810-F961-3A58-4F9D-E5B5797B1B71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272" y="2437085"/>
            <a:ext cx="4194570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1EE6CF9B-911A-2810-9C01-16D4FB0C1BAE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3" b="5309"/>
          <a:stretch>
            <a:fillRect/>
          </a:stretch>
        </p:blipFill>
        <p:spPr bwMode="auto">
          <a:xfrm>
            <a:off x="6120504" y="2437085"/>
            <a:ext cx="4194570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9" name="Rectángulo 6">
            <a:extLst>
              <a:ext uri="{FF2B5EF4-FFF2-40B4-BE49-F238E27FC236}">
                <a16:creationId xmlns="" xmlns:a16="http://schemas.microsoft.com/office/drawing/2014/main" id="{A3CED724-4341-ADD0-636E-F60A256F9D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299" y="1584924"/>
            <a:ext cx="536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Flexión del muslo sobre el tronco:</a:t>
            </a:r>
          </a:p>
        </p:txBody>
      </p:sp>
    </p:spTree>
    <p:extLst>
      <p:ext uri="{BB962C8B-B14F-4D97-AF65-F5344CB8AC3E}">
        <p14:creationId xmlns:p14="http://schemas.microsoft.com/office/powerpoint/2010/main" val="21951424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C40605A4-D9D2-1CDD-2283-F020FB1F1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redondeado 6">
            <a:extLst>
              <a:ext uri="{FF2B5EF4-FFF2-40B4-BE49-F238E27FC236}">
                <a16:creationId xmlns="" xmlns:a16="http://schemas.microsoft.com/office/drawing/2014/main" id="{E4516816-680F-8ABE-EAE1-FD426293CAE7}"/>
              </a:ext>
            </a:extLst>
          </p:cNvPr>
          <p:cNvSpPr/>
          <p:nvPr/>
        </p:nvSpPr>
        <p:spPr>
          <a:xfrm rot="360000">
            <a:off x="6460924" y="2438218"/>
            <a:ext cx="4071613" cy="394746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redondeado 1">
            <a:extLst>
              <a:ext uri="{FF2B5EF4-FFF2-40B4-BE49-F238E27FC236}">
                <a16:creationId xmlns="" xmlns:a16="http://schemas.microsoft.com/office/drawing/2014/main" id="{0ABED492-486A-95D2-DCB4-AD4EEFE99675}"/>
              </a:ext>
            </a:extLst>
          </p:cNvPr>
          <p:cNvSpPr/>
          <p:nvPr/>
        </p:nvSpPr>
        <p:spPr>
          <a:xfrm rot="360000">
            <a:off x="1581919" y="2395372"/>
            <a:ext cx="4019257" cy="3993174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A712759E-B98F-0861-D705-127558F5E10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73FCDA02-1AAD-07EB-C6C9-5F2E8DD934BC}"/>
              </a:ext>
            </a:extLst>
          </p:cNvPr>
          <p:cNvSpPr txBox="1">
            <a:spLocks/>
          </p:cNvSpPr>
          <p:nvPr/>
        </p:nvSpPr>
        <p:spPr>
          <a:xfrm>
            <a:off x="449262" y="129924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</a:t>
            </a: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os brazos</a:t>
            </a:r>
            <a:endParaRPr lang="es-CL" sz="1600" dirty="0">
              <a:solidFill>
                <a:schemeClr val="tx1"/>
              </a:solidFill>
              <a:latin typeface="ACHS Nueva Sans" pitchFamily="2" charset="77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0B61300-826E-971D-6BE9-AA303126CDB4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223" y="2415239"/>
            <a:ext cx="3835122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DD560E2-F1A2-EAEE-EA72-2A9FBF52A670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814" y="2415239"/>
            <a:ext cx="3835122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6" name="Rectángulo 6">
            <a:extLst>
              <a:ext uri="{FF2B5EF4-FFF2-40B4-BE49-F238E27FC236}">
                <a16:creationId xmlns="" xmlns:a16="http://schemas.microsoft.com/office/drawing/2014/main" id="{5F4652BE-5D80-1D91-C285-476C27195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1185" y="1578068"/>
            <a:ext cx="536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Elongación de hombros y brazos:</a:t>
            </a:r>
          </a:p>
        </p:txBody>
      </p:sp>
    </p:spTree>
    <p:extLst>
      <p:ext uri="{BB962C8B-B14F-4D97-AF65-F5344CB8AC3E}">
        <p14:creationId xmlns:p14="http://schemas.microsoft.com/office/powerpoint/2010/main" val="384853745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0E594BC-1C1C-6144-25AF-8E85E08411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="" xmlns:a16="http://schemas.microsoft.com/office/drawing/2014/main" id="{A575563F-BBA0-0B73-2476-EE815F0A65BA}"/>
              </a:ext>
            </a:extLst>
          </p:cNvPr>
          <p:cNvSpPr/>
          <p:nvPr/>
        </p:nvSpPr>
        <p:spPr>
          <a:xfrm rot="360000">
            <a:off x="6295115" y="2168402"/>
            <a:ext cx="4086204" cy="4023903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3BDDA556-41C1-6C3C-9CA0-84D1A47EC355}"/>
              </a:ext>
            </a:extLst>
          </p:cNvPr>
          <p:cNvSpPr/>
          <p:nvPr/>
        </p:nvSpPr>
        <p:spPr>
          <a:xfrm rot="360000">
            <a:off x="1432927" y="2186463"/>
            <a:ext cx="4017441" cy="3975887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E9E26200-1EE0-6B11-2984-25FE7CCCC1A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0F955C09-0261-548F-FE84-C3C85DC3689E}"/>
              </a:ext>
            </a:extLst>
          </p:cNvPr>
          <p:cNvSpPr txBox="1">
            <a:spLocks/>
          </p:cNvSpPr>
          <p:nvPr/>
        </p:nvSpPr>
        <p:spPr>
          <a:xfrm>
            <a:off x="449262" y="131423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</a:t>
            </a: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os brazos</a:t>
            </a:r>
            <a:endParaRPr lang="es-CL" sz="1600" dirty="0">
              <a:solidFill>
                <a:schemeClr val="tx1"/>
              </a:solidFill>
              <a:latin typeface="ACHS Nueva Sans" pitchFamily="2" charset="77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1564E91-DAC2-C894-A20B-4CDBAC908E2F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693" y="2154469"/>
            <a:ext cx="3901737" cy="4021479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A40C9728-F6C8-3024-DC3F-2E292A471C31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769" y="2135419"/>
            <a:ext cx="3896305" cy="4040529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9" name="Rectángulo 6">
            <a:extLst>
              <a:ext uri="{FF2B5EF4-FFF2-40B4-BE49-F238E27FC236}">
                <a16:creationId xmlns="" xmlns:a16="http://schemas.microsoft.com/office/drawing/2014/main" id="{6DA016EB-DA16-9EC7-4BF5-0EDCB3BF83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8409" y="1589682"/>
            <a:ext cx="536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Elongación de antebrazo:</a:t>
            </a:r>
          </a:p>
        </p:txBody>
      </p:sp>
    </p:spTree>
    <p:extLst>
      <p:ext uri="{BB962C8B-B14F-4D97-AF65-F5344CB8AC3E}">
        <p14:creationId xmlns:p14="http://schemas.microsoft.com/office/powerpoint/2010/main" val="10316006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onclusione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6202550" cy="450313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as lesiones músculo-esqueléticas relacionadas con el trabajo son cada vez más frecuentes. Son lesiones que afectan a los músculos, tendones, huesos, ligamentos o discos intervertebrales.</a:t>
            </a:r>
          </a:p>
          <a:p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a mayoría de las lesiones se producen por accidentes o agresiones únicas o aisladas, sino como resultado de traumatismos pequeños y repetidos. La especialización de muchos trabajos ha originado: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Incrementos en el ritmo de trabajo,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Concentración de fuerzas en las manos, muñecas y hombros,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Posturas forzadas y mantenidas causantes de esfuerzos estáticos en diversos músculos.</a:t>
            </a:r>
          </a:p>
          <a:p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Por ello, te invitamos a considerar las recomendaciones entregadas en esta actividad de capacitación y las apliques a diario en tu trabajo.</a:t>
            </a:r>
          </a:p>
        </p:txBody>
      </p:sp>
      <p:pic>
        <p:nvPicPr>
          <p:cNvPr id="7" name="Picture 42">
            <a:extLst>
              <a:ext uri="{FF2B5EF4-FFF2-40B4-BE49-F238E27FC236}">
                <a16:creationId xmlns="" xmlns:a16="http://schemas.microsoft.com/office/drawing/2014/main" id="{67F86D71-3D21-BF40-AD6F-03A80AFDA0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32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1B1F8AFC-3D04-B24B-9587-CEC923C0688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 smtClean="0">
                <a:latin typeface="ACHS Nueva Serif Medium" pitchFamily="2" charset="77"/>
              </a:rPr>
              <a:t>Antes de comenzar</a:t>
            </a:r>
            <a:endParaRPr lang="es-CL" dirty="0">
              <a:latin typeface="ACHS Nueva Serif Medium" pitchFamily="2" charset="77"/>
            </a:endParaRPr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xmlns="" id="{591DDC16-F265-C64B-82BA-44AB79BEE874}"/>
              </a:ext>
            </a:extLst>
          </p:cNvPr>
          <p:cNvSpPr txBox="1">
            <a:spLocks/>
          </p:cNvSpPr>
          <p:nvPr/>
        </p:nvSpPr>
        <p:spPr>
          <a:xfrm>
            <a:off x="892065" y="2187488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1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xmlns="" id="{21922A45-1CB4-DE4A-AFC6-6559F3F5ABD9}"/>
              </a:ext>
            </a:extLst>
          </p:cNvPr>
          <p:cNvSpPr txBox="1">
            <a:spLocks/>
          </p:cNvSpPr>
          <p:nvPr/>
        </p:nvSpPr>
        <p:spPr>
          <a:xfrm>
            <a:off x="3777128" y="2192245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2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C6C7DA55-32EB-EE40-B6D5-9AD6E7DA3129}"/>
              </a:ext>
            </a:extLst>
          </p:cNvPr>
          <p:cNvSpPr txBox="1">
            <a:spLocks/>
          </p:cNvSpPr>
          <p:nvPr/>
        </p:nvSpPr>
        <p:spPr>
          <a:xfrm>
            <a:off x="6879166" y="2191403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3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xmlns="" id="{D08F1239-3882-A346-8268-A113F31F9744}"/>
              </a:ext>
            </a:extLst>
          </p:cNvPr>
          <p:cNvSpPr txBox="1">
            <a:spLocks/>
          </p:cNvSpPr>
          <p:nvPr/>
        </p:nvSpPr>
        <p:spPr>
          <a:xfrm>
            <a:off x="9950205" y="2191403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4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A53B0126-57A4-B044-A321-B36CAA440B5B}"/>
              </a:ext>
            </a:extLst>
          </p:cNvPr>
          <p:cNvSpPr txBox="1">
            <a:spLocks/>
          </p:cNvSpPr>
          <p:nvPr/>
        </p:nvSpPr>
        <p:spPr>
          <a:xfrm>
            <a:off x="892065" y="4612485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:a16="http://schemas.microsoft.com/office/drawing/2014/main" xmlns="" id="{702BB04E-EF6C-9745-8EA8-2010693B5DF5}"/>
              </a:ext>
            </a:extLst>
          </p:cNvPr>
          <p:cNvSpPr txBox="1">
            <a:spLocks/>
          </p:cNvSpPr>
          <p:nvPr/>
        </p:nvSpPr>
        <p:spPr>
          <a:xfrm>
            <a:off x="3732755" y="460823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MX" b="1" dirty="0">
                <a:solidFill>
                  <a:srgbClr val="004D06"/>
                </a:solidFill>
                <a:latin typeface="ACHS Nueva Sans" pitchFamily="2" charset="77"/>
              </a:rPr>
              <a:t>Presentación de la persona facilitadora</a:t>
            </a: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xmlns="" id="{61CBC617-2969-C547-9DC3-8DE549514862}"/>
              </a:ext>
            </a:extLst>
          </p:cNvPr>
          <p:cNvSpPr txBox="1">
            <a:spLocks/>
          </p:cNvSpPr>
          <p:nvPr/>
        </p:nvSpPr>
        <p:spPr>
          <a:xfrm>
            <a:off x="9489780" y="4604120"/>
            <a:ext cx="1888958" cy="62094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Expectativas de </a:t>
            </a:r>
            <a:r>
              <a:rPr lang="es-CL" b="1" dirty="0" smtClean="0">
                <a:solidFill>
                  <a:srgbClr val="004D06"/>
                </a:solidFill>
                <a:latin typeface="ACHS Nueva Sans" pitchFamily="2" charset="77"/>
              </a:rPr>
              <a:t>las personas </a:t>
            </a: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participantes</a:t>
            </a:r>
          </a:p>
          <a:p>
            <a:pPr algn="ctr">
              <a:buClr>
                <a:srgbClr val="4472C4"/>
              </a:buClr>
            </a:pP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sp>
        <p:nvSpPr>
          <p:cNvPr id="18" name="Marcador de texto 5">
            <a:extLst>
              <a:ext uri="{FF2B5EF4-FFF2-40B4-BE49-F238E27FC236}">
                <a16:creationId xmlns:a16="http://schemas.microsoft.com/office/drawing/2014/main" xmlns="" id="{C5FDC5E6-5AB1-1642-A6D2-88BAE7E7F82F}"/>
              </a:ext>
            </a:extLst>
          </p:cNvPr>
          <p:cNvSpPr txBox="1">
            <a:spLocks/>
          </p:cNvSpPr>
          <p:nvPr/>
        </p:nvSpPr>
        <p:spPr>
          <a:xfrm>
            <a:off x="6901180" y="4604119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Presentación </a:t>
            </a:r>
            <a:r>
              <a:rPr lang="es-CL" b="1" dirty="0" smtClean="0">
                <a:solidFill>
                  <a:srgbClr val="004D06"/>
                </a:solidFill>
                <a:latin typeface="ACHS Nueva Sans" pitchFamily="2" charset="77"/>
              </a:rPr>
              <a:t>de la charla</a:t>
            </a: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  <a:p>
            <a:pPr algn="ctr">
              <a:buClr>
                <a:srgbClr val="4472C4"/>
              </a:buClr>
            </a:pP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4C753F71-BD09-674A-8207-C23888CA0A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065" y="3103404"/>
            <a:ext cx="1481153" cy="107147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58FF4666-0B78-8F4B-9B02-318931148C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2717" y="2912980"/>
            <a:ext cx="922622" cy="1336212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78260236-D19F-734A-9C9A-EB9B2B8447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1500" y="3099294"/>
            <a:ext cx="1102987" cy="1039959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8DEEE72F-61D8-314D-A35E-27EC95637E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3210" y="3159331"/>
            <a:ext cx="1157089" cy="1150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22031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938;p66">
            <a:extLst>
              <a:ext uri="{FF2B5EF4-FFF2-40B4-BE49-F238E27FC236}">
                <a16:creationId xmlns="" xmlns:a16="http://schemas.microsoft.com/office/drawing/2014/main" id="{78A4552A-C27C-404A-8CB4-E89ECEEBCF0B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defTabSz="1599158">
              <a:spcBef>
                <a:spcPts val="0"/>
              </a:spcBef>
              <a:defRPr/>
            </a:pPr>
            <a:r>
              <a:rPr lang="es-CL" sz="2000" kern="0" dirty="0">
                <a:latin typeface="ACHS Nueva Serif" pitchFamily="2" charset="77"/>
              </a:rPr>
              <a:t>Encuesta de satisfacción – curso cerrado presencial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4F1A4033-9B79-5F48-B74B-5B8D531047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8345" y="2297952"/>
            <a:ext cx="4378548" cy="3471749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C39D3146-D888-1849-BDCF-C358F1593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509" y="2297952"/>
            <a:ext cx="2054431" cy="3359851"/>
          </a:xfrm>
          <a:prstGeom prst="rect">
            <a:avLst/>
          </a:prstGeom>
        </p:spPr>
      </p:pic>
      <p:sp>
        <p:nvSpPr>
          <p:cNvPr id="15" name="Marcador de texto 11">
            <a:extLst>
              <a:ext uri="{FF2B5EF4-FFF2-40B4-BE49-F238E27FC236}">
                <a16:creationId xmlns="" xmlns:a16="http://schemas.microsoft.com/office/drawing/2014/main" id="{23F6A493-E8E0-8549-98D4-20286CDA6B6D}"/>
              </a:ext>
            </a:extLst>
          </p:cNvPr>
          <p:cNvSpPr txBox="1">
            <a:spLocks/>
          </p:cNvSpPr>
          <p:nvPr/>
        </p:nvSpPr>
        <p:spPr>
          <a:xfrm>
            <a:off x="5618345" y="3645769"/>
            <a:ext cx="4378548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endParaRPr lang="es-CL" sz="2000" u="sng" kern="0" dirty="0">
              <a:solidFill>
                <a:srgbClr val="15BF45">
                  <a:lumMod val="75000"/>
                </a:srgbClr>
              </a:solidFill>
              <a:latin typeface="ACHS Nueva Sans Medium" pitchFamily="2" charset="77"/>
            </a:endParaRPr>
          </a:p>
        </p:txBody>
      </p:sp>
      <p:sp>
        <p:nvSpPr>
          <p:cNvPr id="16" name="Rectángulo redondeado 15">
            <a:extLst>
              <a:ext uri="{FF2B5EF4-FFF2-40B4-BE49-F238E27FC236}">
                <a16:creationId xmlns="" xmlns:a16="http://schemas.microsoft.com/office/drawing/2014/main" id="{5614FC76-A357-CC48-9141-3DD22645C82B}"/>
              </a:ext>
            </a:extLst>
          </p:cNvPr>
          <p:cNvSpPr/>
          <p:nvPr/>
        </p:nvSpPr>
        <p:spPr>
          <a:xfrm>
            <a:off x="1726911" y="1566065"/>
            <a:ext cx="2629151" cy="377072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Escanea este código</a:t>
            </a:r>
          </a:p>
        </p:txBody>
      </p:sp>
      <p:sp>
        <p:nvSpPr>
          <p:cNvPr id="17" name="Rectángulo redondeado 16">
            <a:extLst>
              <a:ext uri="{FF2B5EF4-FFF2-40B4-BE49-F238E27FC236}">
                <a16:creationId xmlns="" xmlns:a16="http://schemas.microsoft.com/office/drawing/2014/main" id="{D50F642D-FF80-0A40-82AE-05ED865A1C40}"/>
              </a:ext>
            </a:extLst>
          </p:cNvPr>
          <p:cNvSpPr/>
          <p:nvPr/>
        </p:nvSpPr>
        <p:spPr>
          <a:xfrm>
            <a:off x="6512898" y="1562952"/>
            <a:ext cx="2646084" cy="412625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O ingresa a este link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6A9422D-B2D2-7525-8DC8-73E98E5B7A6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481" t="15729" r="16954" b="32193"/>
          <a:stretch/>
        </p:blipFill>
        <p:spPr>
          <a:xfrm>
            <a:off x="2125159" y="3138057"/>
            <a:ext cx="1661130" cy="1679639"/>
          </a:xfrm>
          <a:prstGeom prst="rect">
            <a:avLst/>
          </a:prstGeom>
        </p:spPr>
      </p:pic>
      <p:sp>
        <p:nvSpPr>
          <p:cNvPr id="7" name="Marcador de texto 11">
            <a:extLst>
              <a:ext uri="{FF2B5EF4-FFF2-40B4-BE49-F238E27FC236}">
                <a16:creationId xmlns="" xmlns:a16="http://schemas.microsoft.com/office/drawing/2014/main" id="{A8F5A058-BC20-2C8C-54A0-2BA20660EAB6}"/>
              </a:ext>
            </a:extLst>
          </p:cNvPr>
          <p:cNvSpPr txBox="1">
            <a:spLocks/>
          </p:cNvSpPr>
          <p:nvPr/>
        </p:nvSpPr>
        <p:spPr>
          <a:xfrm>
            <a:off x="5998686" y="3656669"/>
            <a:ext cx="3617865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5">
                  <a:extLst>
                    <a:ext uri="{96DAC541-7B7A-43D3-8B79-37D633B846F1}">
                      <asvg:svgBlip xmlns="" xmlns:asvg="http://schemas.microsoft.com/office/drawing/2016/SVG/main" r:embed="rId6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5">
                  <a:extLst>
                    <a:ext uri="{96DAC541-7B7A-43D3-8B79-37D633B846F1}">
                      <asvg:svgBlip xmlns="" xmlns:asvg="http://schemas.microsoft.com/office/drawing/2016/SVG/main" r:embed="rId6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5">
                  <a:extLst>
                    <a:ext uri="{96DAC541-7B7A-43D3-8B79-37D633B846F1}">
                      <asvg:svgBlip xmlns="" xmlns:asvg="http://schemas.microsoft.com/office/drawing/2016/SVG/main" r:embed="rId6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r>
              <a:rPr lang="es-CL" sz="2000" u="sng" kern="0" dirty="0">
                <a:solidFill>
                  <a:schemeClr val="accent1"/>
                </a:solidFill>
                <a:latin typeface="ACHS Nueva Sans Medium" pitchFamily="2" charset="77"/>
              </a:rPr>
              <a:t>tinyurl.com/</a:t>
            </a:r>
            <a:r>
              <a:rPr lang="es-CL" sz="2000" u="sng" kern="0" dirty="0" err="1">
                <a:solidFill>
                  <a:schemeClr val="accent1"/>
                </a:solidFill>
                <a:latin typeface="ACHS Nueva Sans Medium" pitchFamily="2" charset="77"/>
              </a:rPr>
              <a:t>ujnzkjew</a:t>
            </a:r>
            <a:endParaRPr lang="es-CL" sz="2000" u="sng" kern="0" dirty="0">
              <a:solidFill>
                <a:schemeClr val="accent1"/>
              </a:solidFill>
              <a:latin typeface="ACHS Nueva Sa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959016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938;p66">
            <a:extLst>
              <a:ext uri="{FF2B5EF4-FFF2-40B4-BE49-F238E27FC236}">
                <a16:creationId xmlns="" xmlns:a16="http://schemas.microsoft.com/office/drawing/2014/main" id="{78A4552A-C27C-404A-8CB4-E89ECEEBCF0B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</a:pPr>
            <a:r>
              <a:rPr lang="es-CL" kern="0" dirty="0">
                <a:latin typeface="ACHS Nueva Serif" pitchFamily="2" charset="77"/>
              </a:rPr>
              <a:t>Encuesta de satisfacción – curso abierto presencial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4F1A4033-9B79-5F48-B74B-5B8D531047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8345" y="2297952"/>
            <a:ext cx="4378548" cy="3471749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C39D3146-D888-1849-BDCF-C358F1593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509" y="2297952"/>
            <a:ext cx="2054431" cy="3359851"/>
          </a:xfrm>
          <a:prstGeom prst="rect">
            <a:avLst/>
          </a:prstGeom>
        </p:spPr>
      </p:pic>
      <p:sp>
        <p:nvSpPr>
          <p:cNvPr id="15" name="Marcador de texto 11">
            <a:extLst>
              <a:ext uri="{FF2B5EF4-FFF2-40B4-BE49-F238E27FC236}">
                <a16:creationId xmlns="" xmlns:a16="http://schemas.microsoft.com/office/drawing/2014/main" id="{23F6A493-E8E0-8549-98D4-20286CDA6B6D}"/>
              </a:ext>
            </a:extLst>
          </p:cNvPr>
          <p:cNvSpPr txBox="1">
            <a:spLocks/>
          </p:cNvSpPr>
          <p:nvPr/>
        </p:nvSpPr>
        <p:spPr>
          <a:xfrm>
            <a:off x="5618345" y="3645769"/>
            <a:ext cx="4378548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r>
              <a:rPr lang="es-CL" sz="2000" u="sng" kern="0" dirty="0" err="1">
                <a:solidFill>
                  <a:srgbClr val="15BF45">
                    <a:lumMod val="75000"/>
                  </a:srgbClr>
                </a:solidFill>
                <a:latin typeface="ACHS Nueva Sans Medium" pitchFamily="2" charset="77"/>
              </a:rPr>
              <a:t>tinyurl.com</a:t>
            </a:r>
            <a:r>
              <a:rPr lang="es-CL" sz="2000" u="sng" kern="0" dirty="0">
                <a:solidFill>
                  <a:srgbClr val="15BF45">
                    <a:lumMod val="75000"/>
                  </a:srgbClr>
                </a:solidFill>
                <a:latin typeface="ACHS Nueva Sans Medium" pitchFamily="2" charset="77"/>
              </a:rPr>
              <a:t>/26vbepn4</a:t>
            </a:r>
          </a:p>
        </p:txBody>
      </p:sp>
      <p:sp>
        <p:nvSpPr>
          <p:cNvPr id="16" name="Rectángulo redondeado 15">
            <a:extLst>
              <a:ext uri="{FF2B5EF4-FFF2-40B4-BE49-F238E27FC236}">
                <a16:creationId xmlns="" xmlns:a16="http://schemas.microsoft.com/office/drawing/2014/main" id="{5614FC76-A357-CC48-9141-3DD22645C82B}"/>
              </a:ext>
            </a:extLst>
          </p:cNvPr>
          <p:cNvSpPr/>
          <p:nvPr/>
        </p:nvSpPr>
        <p:spPr>
          <a:xfrm>
            <a:off x="1726911" y="1566065"/>
            <a:ext cx="2629151" cy="377072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Escanea este código</a:t>
            </a:r>
          </a:p>
        </p:txBody>
      </p:sp>
      <p:sp>
        <p:nvSpPr>
          <p:cNvPr id="17" name="Rectángulo redondeado 16">
            <a:extLst>
              <a:ext uri="{FF2B5EF4-FFF2-40B4-BE49-F238E27FC236}">
                <a16:creationId xmlns="" xmlns:a16="http://schemas.microsoft.com/office/drawing/2014/main" id="{D50F642D-FF80-0A40-82AE-05ED865A1C40}"/>
              </a:ext>
            </a:extLst>
          </p:cNvPr>
          <p:cNvSpPr/>
          <p:nvPr/>
        </p:nvSpPr>
        <p:spPr>
          <a:xfrm>
            <a:off x="6512898" y="1562952"/>
            <a:ext cx="2646084" cy="412625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O ingresa a este link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4A3A3F96-C092-1045-A039-18EC97CC79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245" t="11281" r="12375" b="27601"/>
          <a:stretch/>
        </p:blipFill>
        <p:spPr>
          <a:xfrm>
            <a:off x="2195106" y="3158327"/>
            <a:ext cx="1492475" cy="149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832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674541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4">
            <a:extLst>
              <a:ext uri="{FF2B5EF4-FFF2-40B4-BE49-F238E27FC236}">
                <a16:creationId xmlns="" xmlns:a16="http://schemas.microsoft.com/office/drawing/2014/main" id="{D10A1760-1426-804B-BA64-496718C6AC0D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216604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Promover hábitos seguros en la ejecución de tareas asociadas a sala cuna y jardines infantiles, previniendo trastornos </a:t>
            </a:r>
            <a:r>
              <a:rPr lang="es-CL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músculo-esqueléticos</a:t>
            </a:r>
            <a:r>
              <a:rPr lang="es-CL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A30056D-92D3-DB49-B204-8D8CFD37613D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erif" pitchFamily="2" charset="77"/>
              </a:rPr>
              <a:t>OBJETIV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760D28AD-7E93-E847-86EC-D02D38B63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FD434174-C6A8-FA4B-BCFC-BDF0FCBFC4F5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erif" pitchFamily="2" charset="77"/>
              </a:rPr>
              <a:t>Objetivo del curso</a:t>
            </a:r>
          </a:p>
        </p:txBody>
      </p:sp>
    </p:spTree>
    <p:extLst>
      <p:ext uri="{BB962C8B-B14F-4D97-AF65-F5344CB8AC3E}">
        <p14:creationId xmlns:p14="http://schemas.microsoft.com/office/powerpoint/2010/main" val="4411140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6347796" cy="43906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accent1"/>
              </a:buClr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Para el autocuidado es necesario que </a:t>
            </a:r>
            <a:r>
              <a:rPr lang="es-CL" dirty="0" smtClean="0">
                <a:solidFill>
                  <a:schemeClr val="tx1"/>
                </a:solidFill>
                <a:latin typeface="ACHS Nueva Sans Medium" pitchFamily="2" charset="77"/>
              </a:rPr>
              <a:t>tú </a:t>
            </a: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mismo: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Detectes lo que te puede hacer daño y lo que te puede pasar.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Busques la solución.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Aprende el modelo de conducta preventiva ACHS ODE.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Apliques ejercicios compensatorios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1C25A18B-F84B-DA46-A07A-70B114EA9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2000" y="2467374"/>
            <a:ext cx="4630738" cy="439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1999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8A7068B-C6E2-D224-518B-6BC3738E8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AFAEE01B-E5ED-1EB4-6644-01289BEAD4C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sz="2000" dirty="0">
                <a:latin typeface="ACHS Nueva Serif" pitchFamily="2" charset="77"/>
              </a:rPr>
              <a:t>Aplica este modelo en tu vida laboral y cotidiana: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84933D63-DA8D-472D-9CC8-96219BFD4027}"/>
              </a:ext>
            </a:extLst>
          </p:cNvPr>
          <p:cNvSpPr/>
          <p:nvPr/>
        </p:nvSpPr>
        <p:spPr>
          <a:xfrm>
            <a:off x="1114850" y="1282098"/>
            <a:ext cx="10277475" cy="5230624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Elipse 5">
            <a:extLst>
              <a:ext uri="{FF2B5EF4-FFF2-40B4-BE49-F238E27FC236}">
                <a16:creationId xmlns="" xmlns:a16="http://schemas.microsoft.com/office/drawing/2014/main" id="{F0691BB8-E822-E2F3-1381-930A6BD0F58E}"/>
              </a:ext>
            </a:extLst>
          </p:cNvPr>
          <p:cNvSpPr/>
          <p:nvPr/>
        </p:nvSpPr>
        <p:spPr>
          <a:xfrm>
            <a:off x="1409144" y="3819911"/>
            <a:ext cx="2632692" cy="2488249"/>
          </a:xfrm>
          <a:prstGeom prst="ellipse">
            <a:avLst/>
          </a:prstGeom>
          <a:solidFill>
            <a:srgbClr val="FFD31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latin typeface="ACHS Nueva Sans" pitchFamily="2" charset="77"/>
              </a:rPr>
              <a:t>Observa</a:t>
            </a:r>
          </a:p>
          <a:p>
            <a:pPr algn="ctr"/>
            <a:r>
              <a:rPr lang="es-CL" sz="1200" dirty="0">
                <a:latin typeface="ACHS Nueva Sans Medium" pitchFamily="2" charset="77"/>
              </a:rPr>
              <a:t>Identifica todo lo que te puede hacer daño, fuentes, actos o situaciones del entorno.</a:t>
            </a:r>
          </a:p>
          <a:p>
            <a:pPr algn="ctr"/>
            <a:endParaRPr lang="es-CL" sz="1200" dirty="0">
              <a:latin typeface="ACHS Nueva Sans Medium" pitchFamily="2" charset="77"/>
            </a:endParaRPr>
          </a:p>
          <a:p>
            <a:pPr algn="ctr"/>
            <a:r>
              <a:rPr lang="es-CL" sz="1200" b="1" dirty="0">
                <a:latin typeface="ACHS Nueva Sans" pitchFamily="2" charset="77"/>
              </a:rPr>
              <a:t>Pregúntate: ¿Qué me puede hacer daño?</a:t>
            </a:r>
          </a:p>
        </p:txBody>
      </p:sp>
      <p:sp>
        <p:nvSpPr>
          <p:cNvPr id="7" name="Elipse 6">
            <a:extLst>
              <a:ext uri="{FF2B5EF4-FFF2-40B4-BE49-F238E27FC236}">
                <a16:creationId xmlns="" xmlns:a16="http://schemas.microsoft.com/office/drawing/2014/main" id="{246E8D3F-702E-48B4-F585-1FCB09B8E0CA}"/>
              </a:ext>
            </a:extLst>
          </p:cNvPr>
          <p:cNvSpPr/>
          <p:nvPr/>
        </p:nvSpPr>
        <p:spPr>
          <a:xfrm>
            <a:off x="8483537" y="3848627"/>
            <a:ext cx="2608603" cy="24825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latin typeface="ACHS Nueva Sans" pitchFamily="2" charset="77"/>
              </a:rPr>
              <a:t>Ejecuta</a:t>
            </a:r>
          </a:p>
          <a:p>
            <a:pPr algn="ctr"/>
            <a:r>
              <a:rPr lang="es-CL" sz="1200" dirty="0">
                <a:latin typeface="ACHS Nueva Sans Medium" pitchFamily="2" charset="77"/>
              </a:rPr>
              <a:t>Piensa en prácticas o acciones que evitarán que ocurra un accidente y ejecútalas.</a:t>
            </a:r>
          </a:p>
          <a:p>
            <a:pPr algn="ctr"/>
            <a:endParaRPr lang="es-CL" sz="1200" dirty="0">
              <a:latin typeface="ACHS Nueva Sans Medium" pitchFamily="2" charset="77"/>
            </a:endParaRPr>
          </a:p>
          <a:p>
            <a:pPr algn="ctr"/>
            <a:r>
              <a:rPr lang="es-CL" sz="1200" b="1" dirty="0">
                <a:latin typeface="ACHS Nueva Sans" pitchFamily="2" charset="77"/>
              </a:rPr>
              <a:t>Pregúntate: ¿Cómo evito el accidente o enfermedad profesional?</a:t>
            </a:r>
          </a:p>
        </p:txBody>
      </p:sp>
      <p:sp>
        <p:nvSpPr>
          <p:cNvPr id="8" name="Elipse 7">
            <a:extLst>
              <a:ext uri="{FF2B5EF4-FFF2-40B4-BE49-F238E27FC236}">
                <a16:creationId xmlns="" xmlns:a16="http://schemas.microsoft.com/office/drawing/2014/main" id="{6F1B009B-ED1E-3B46-8725-357BE3AA0983}"/>
              </a:ext>
            </a:extLst>
          </p:cNvPr>
          <p:cNvSpPr/>
          <p:nvPr/>
        </p:nvSpPr>
        <p:spPr>
          <a:xfrm>
            <a:off x="4958385" y="3860641"/>
            <a:ext cx="2608603" cy="2488250"/>
          </a:xfrm>
          <a:prstGeom prst="ellipse">
            <a:avLst/>
          </a:prstGeom>
          <a:solidFill>
            <a:srgbClr val="01AF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latin typeface="ACHS Nueva Sans" pitchFamily="2" charset="77"/>
              </a:rPr>
              <a:t>Distingue</a:t>
            </a:r>
          </a:p>
          <a:p>
            <a:pPr algn="ctr"/>
            <a:r>
              <a:rPr lang="es-CL" sz="1200" dirty="0">
                <a:latin typeface="ACHS Nueva Sans Medium" pitchFamily="2" charset="77"/>
              </a:rPr>
              <a:t>En razón de lo que identificaste, evalúa posibles accidentes o enfermedades profesionales a las que te expones</a:t>
            </a:r>
          </a:p>
          <a:p>
            <a:pPr algn="ctr"/>
            <a:endParaRPr lang="es-CL" sz="1200" dirty="0">
              <a:latin typeface="ACHS Nueva Sans Medium" pitchFamily="2" charset="77"/>
            </a:endParaRPr>
          </a:p>
          <a:p>
            <a:pPr algn="ctr"/>
            <a:r>
              <a:rPr lang="es-CL" sz="1200" b="1" dirty="0">
                <a:latin typeface="ACHS Nueva Sans" pitchFamily="2" charset="77"/>
              </a:rPr>
              <a:t>Pregúntate: ¿Qué puede pasar?</a:t>
            </a:r>
          </a:p>
        </p:txBody>
      </p:sp>
      <p:sp>
        <p:nvSpPr>
          <p:cNvPr id="9" name="Pentágono 8">
            <a:extLst>
              <a:ext uri="{FF2B5EF4-FFF2-40B4-BE49-F238E27FC236}">
                <a16:creationId xmlns="" xmlns:a16="http://schemas.microsoft.com/office/drawing/2014/main" id="{0EBC5C01-CA25-92E1-88BA-205D8CB6D829}"/>
              </a:ext>
            </a:extLst>
          </p:cNvPr>
          <p:cNvSpPr/>
          <p:nvPr/>
        </p:nvSpPr>
        <p:spPr>
          <a:xfrm rot="5400000">
            <a:off x="1403428" y="980409"/>
            <a:ext cx="1787528" cy="19004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400" dirty="0">
                <a:latin typeface="ACHS Nueva Sans Medium" pitchFamily="2" charset="77"/>
              </a:rPr>
              <a:t>Actúa con seguridad en todo momento aplicando el ODE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="" xmlns:a16="http://schemas.microsoft.com/office/drawing/2014/main" id="{F0B1FA53-EFD9-7858-6C8D-C9B1EA043CF6}"/>
              </a:ext>
            </a:extLst>
          </p:cNvPr>
          <p:cNvSpPr txBox="1"/>
          <p:nvPr/>
        </p:nvSpPr>
        <p:spPr>
          <a:xfrm>
            <a:off x="3470433" y="1429171"/>
            <a:ext cx="545847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3600" dirty="0">
                <a:latin typeface="ACHS Nueva Serif" pitchFamily="2" charset="77"/>
              </a:rPr>
              <a:t>Modelo de conducta preventiva ODE</a:t>
            </a:r>
          </a:p>
        </p:txBody>
      </p:sp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560DCD48-239C-5C84-2F7C-D525C7EF0AE3}"/>
              </a:ext>
            </a:extLst>
          </p:cNvPr>
          <p:cNvSpPr/>
          <p:nvPr/>
        </p:nvSpPr>
        <p:spPr>
          <a:xfrm>
            <a:off x="1123949" y="3102425"/>
            <a:ext cx="10277475" cy="5089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latin typeface="ACHS Nueva Sans Medium" pitchFamily="2" charset="77"/>
              </a:rPr>
              <a:t>¿Qué es el ODE? 3 pasos para que actúes con seguridad en todo momento</a:t>
            </a:r>
          </a:p>
        </p:txBody>
      </p:sp>
    </p:spTree>
    <p:extLst>
      <p:ext uri="{BB962C8B-B14F-4D97-AF65-F5344CB8AC3E}">
        <p14:creationId xmlns:p14="http://schemas.microsoft.com/office/powerpoint/2010/main" val="19413850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s-CL" dirty="0">
                <a:latin typeface="ACHS Nueva Serif" pitchFamily="2" charset="77"/>
              </a:rPr>
              <a:t>Al dar alimento a los bebes, pregúntate  ¿Qué me puede hacer daño?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3237B05A-0172-696F-53F6-9B6D999E3F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7" t="42125" r="16074" b="34250"/>
          <a:stretch>
            <a:fillRect/>
          </a:stretch>
        </p:blipFill>
        <p:spPr bwMode="auto">
          <a:xfrm>
            <a:off x="476351" y="1958389"/>
            <a:ext cx="11239298" cy="259678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ángulo redondeado 4">
            <a:extLst>
              <a:ext uri="{FF2B5EF4-FFF2-40B4-BE49-F238E27FC236}">
                <a16:creationId xmlns="" xmlns:a16="http://schemas.microsoft.com/office/drawing/2014/main" id="{BC68229E-E3C8-C73E-985B-5D809666A3A9}"/>
              </a:ext>
            </a:extLst>
          </p:cNvPr>
          <p:cNvSpPr/>
          <p:nvPr/>
        </p:nvSpPr>
        <p:spPr>
          <a:xfrm>
            <a:off x="3571875" y="5029200"/>
            <a:ext cx="4882577" cy="92189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8766">
              <a:defRPr/>
            </a:pPr>
            <a:r>
              <a:rPr lang="es-ES" sz="24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¡Cuidado, todas son incorrectas!</a:t>
            </a:r>
          </a:p>
        </p:txBody>
      </p:sp>
    </p:spTree>
    <p:extLst>
      <p:ext uri="{BB962C8B-B14F-4D97-AF65-F5344CB8AC3E}">
        <p14:creationId xmlns:p14="http://schemas.microsoft.com/office/powerpoint/2010/main" val="34325152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redondeado 11">
            <a:extLst>
              <a:ext uri="{FF2B5EF4-FFF2-40B4-BE49-F238E27FC236}">
                <a16:creationId xmlns="" xmlns:a16="http://schemas.microsoft.com/office/drawing/2014/main" id="{DCEC49DC-E42C-FE14-D7A3-E72FCBEBFE2C}"/>
              </a:ext>
            </a:extLst>
          </p:cNvPr>
          <p:cNvSpPr/>
          <p:nvPr/>
        </p:nvSpPr>
        <p:spPr>
          <a:xfrm rot="360000">
            <a:off x="8533871" y="1723693"/>
            <a:ext cx="3358222" cy="334426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294256E3-D4A1-1586-661E-2B679D0EF27C}"/>
              </a:ext>
            </a:extLst>
          </p:cNvPr>
          <p:cNvSpPr/>
          <p:nvPr/>
        </p:nvSpPr>
        <p:spPr>
          <a:xfrm rot="360000">
            <a:off x="593034" y="1561450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s-CL" dirty="0">
                <a:latin typeface="ACHS Nueva Serif" pitchFamily="2" charset="77"/>
              </a:rPr>
              <a:t>Detecta el incidente probable preguntándote:  ¿Qué me puede pasar?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828768" y="5402106"/>
            <a:ext cx="2565401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L" altLang="es-CL" dirty="0">
                <a:solidFill>
                  <a:schemeClr val="tx1"/>
                </a:solidFill>
                <a:latin typeface="ACHS Nueva Sans Medium" pitchFamily="2" charset="77"/>
              </a:rPr>
              <a:t>Sobre esfuerzo en la column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88A0E716-222A-E7AE-1D0D-81C1D622EEC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90" t="2821"/>
          <a:stretch>
            <a:fillRect/>
          </a:stretch>
        </p:blipFill>
        <p:spPr bwMode="auto">
          <a:xfrm>
            <a:off x="8641516" y="1761665"/>
            <a:ext cx="3066594" cy="323097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6" name="Marcador de texto 5">
            <a:extLst>
              <a:ext uri="{FF2B5EF4-FFF2-40B4-BE49-F238E27FC236}">
                <a16:creationId xmlns="" xmlns:a16="http://schemas.microsoft.com/office/drawing/2014/main" id="{CBD4CE82-79B2-F6D3-91DF-1B03D1DA8E45}"/>
              </a:ext>
            </a:extLst>
          </p:cNvPr>
          <p:cNvSpPr txBox="1">
            <a:spLocks/>
          </p:cNvSpPr>
          <p:nvPr/>
        </p:nvSpPr>
        <p:spPr>
          <a:xfrm>
            <a:off x="4813299" y="5402106"/>
            <a:ext cx="2565401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L" altLang="es-CL" dirty="0">
                <a:solidFill>
                  <a:schemeClr val="tx1"/>
                </a:solidFill>
                <a:latin typeface="ACHS Nueva Sans Medium" pitchFamily="2" charset="77"/>
              </a:rPr>
              <a:t>Sobre esfuerzo en Brazo derecho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="" xmlns:a16="http://schemas.microsoft.com/office/drawing/2014/main" id="{B409447D-C6D4-3938-6AAE-5ABC5583D945}"/>
              </a:ext>
            </a:extLst>
          </p:cNvPr>
          <p:cNvSpPr txBox="1">
            <a:spLocks/>
          </p:cNvSpPr>
          <p:nvPr/>
        </p:nvSpPr>
        <p:spPr>
          <a:xfrm>
            <a:off x="8892112" y="5402106"/>
            <a:ext cx="2565401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L" altLang="es-CL" dirty="0">
                <a:solidFill>
                  <a:schemeClr val="tx1"/>
                </a:solidFill>
                <a:latin typeface="ACHS Nueva Sans Medium" pitchFamily="2" charset="77"/>
              </a:rPr>
              <a:t>Postura forzad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B7DF730-984F-3DC5-D002-335906828D8C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1" r="11417"/>
          <a:stretch>
            <a:fillRect/>
          </a:stretch>
        </p:blipFill>
        <p:spPr bwMode="auto">
          <a:xfrm>
            <a:off x="693145" y="1658965"/>
            <a:ext cx="3245555" cy="3102677"/>
          </a:xfrm>
          <a:prstGeom prst="round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  <p:sp>
        <p:nvSpPr>
          <p:cNvPr id="11" name="Rectángulo redondeado 10">
            <a:extLst>
              <a:ext uri="{FF2B5EF4-FFF2-40B4-BE49-F238E27FC236}">
                <a16:creationId xmlns="" xmlns:a16="http://schemas.microsoft.com/office/drawing/2014/main" id="{AE6BCDA4-E90B-1820-86CE-B437C7A8AD06}"/>
              </a:ext>
            </a:extLst>
          </p:cNvPr>
          <p:cNvSpPr/>
          <p:nvPr/>
        </p:nvSpPr>
        <p:spPr>
          <a:xfrm rot="360000">
            <a:off x="4511335" y="1566209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DB9F62D-CC52-3E52-BEFC-849AD3EE6D0A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767"/>
          <a:stretch>
            <a:fillRect/>
          </a:stretch>
        </p:blipFill>
        <p:spPr bwMode="auto">
          <a:xfrm>
            <a:off x="4683322" y="1601518"/>
            <a:ext cx="3066593" cy="3240417"/>
          </a:xfrm>
          <a:prstGeom prst="roundRect">
            <a:avLst/>
          </a:prstGeom>
          <a:solidFill>
            <a:schemeClr val="bg1"/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7955734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Busca la solución, preguntándote:  ¿Cómo evito el accidente?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6423026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accent1"/>
              </a:buClr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Recomendaciones para alimentar: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Utiliza sillas que ubiquen al menor a una altura equivalente a la tuya, así evitarás posturas forzadas.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Ubica al niño para evitar inclinaciones y rotaciones del tronco.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Siéntate procurando un buen apoyo en la zona lumbar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Relaja la musculatura de la espalda y el abdomen, con ejercicios compensatorios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13C85723-B890-0C40-4B22-43FD6EE64D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10" t="31625" r="16531" b="16750"/>
          <a:stretch>
            <a:fillRect/>
          </a:stretch>
        </p:blipFill>
        <p:spPr bwMode="auto">
          <a:xfrm>
            <a:off x="7171704" y="2186058"/>
            <a:ext cx="3887962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556561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82B7E1D-40A7-45C7-B3FF-443373B4A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2E5C9D93-741F-12F1-7E42-C8757575CF4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Busca la solución, preguntándote:  ¿Cómo evito el accidente?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504B2722-60EB-3C98-64F0-9A407D07314D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6423026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Para evitar este sobre esfuerzo, busca una buena solución:</a:t>
            </a:r>
          </a:p>
        </p:txBody>
      </p:sp>
      <p:pic>
        <p:nvPicPr>
          <p:cNvPr id="5" name="Video apoyo Charla Hábitos">
            <a:hlinkClick r:id="" action="ppaction://media"/>
            <a:extLst>
              <a:ext uri="{FF2B5EF4-FFF2-40B4-BE49-F238E27FC236}">
                <a16:creationId xmlns="" xmlns:a16="http://schemas.microsoft.com/office/drawing/2014/main" id="{3274C3ED-D3C6-1394-2E90-B0F14227B4E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931789" y="2062956"/>
            <a:ext cx="6900757" cy="388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60059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3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3C3685B2-2683-441F-8724-B3377627A2BB}"/>
</file>

<file path=customXml/itemProps2.xml><?xml version="1.0" encoding="utf-8"?>
<ds:datastoreItem xmlns:ds="http://schemas.openxmlformats.org/officeDocument/2006/customXml" ds:itemID="{66408BEC-E935-4B17-BE2E-5348825E3640}"/>
</file>

<file path=customXml/itemProps3.xml><?xml version="1.0" encoding="utf-8"?>
<ds:datastoreItem xmlns:ds="http://schemas.openxmlformats.org/officeDocument/2006/customXml" ds:itemID="{D3656C02-9F39-493D-987C-B4F4B730D61C}"/>
</file>

<file path=docProps/app.xml><?xml version="1.0" encoding="utf-8"?>
<Properties xmlns="http://schemas.openxmlformats.org/officeDocument/2006/extended-properties" xmlns:vt="http://schemas.openxmlformats.org/officeDocument/2006/docPropsVTypes">
  <TotalTime>3102</TotalTime>
  <Words>696</Words>
  <Application>Microsoft Office PowerPoint</Application>
  <PresentationFormat>Panorámica</PresentationFormat>
  <Paragraphs>113</Paragraphs>
  <Slides>22</Slides>
  <Notes>17</Notes>
  <HiddenSlides>0</HiddenSlides>
  <MMClips>1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6" baseType="lpstr">
      <vt:lpstr>ACHS Nueva Sans</vt:lpstr>
      <vt:lpstr>ACHS Nueva Sans Medium</vt:lpstr>
      <vt:lpstr>ACHS Nueva Sans SemiBold</vt:lpstr>
      <vt:lpstr>ACHS Nueva Serif</vt:lpstr>
      <vt:lpstr>ACHS Nueva Serif Medium</vt:lpstr>
      <vt:lpstr>Arial</vt:lpstr>
      <vt:lpstr>Calibri</vt:lpstr>
      <vt:lpstr>Helvetica Neue Medium</vt:lpstr>
      <vt:lpstr>Noto Sans Symbols</vt:lpstr>
      <vt:lpstr>Wingdings</vt:lpstr>
      <vt:lpstr>Tema de Office</vt:lpstr>
      <vt:lpstr>Portadas y cierres_Achs Seguro Laboral</vt:lpstr>
      <vt:lpstr>43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514</cp:revision>
  <dcterms:created xsi:type="dcterms:W3CDTF">2023-07-11T20:17:04Z</dcterms:created>
  <dcterms:modified xsi:type="dcterms:W3CDTF">2025-07-07T14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</Properties>
</file>